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73"/>
  </p:sldMasterIdLst>
  <p:notesMasterIdLst>
    <p:notesMasterId r:id="rId112"/>
  </p:notesMasterIdLst>
  <p:handoutMasterIdLst>
    <p:handoutMasterId r:id="rId113"/>
  </p:handoutMasterIdLst>
  <p:sldIdLst>
    <p:sldId id="275" r:id="rId74"/>
    <p:sldId id="257" r:id="rId75"/>
    <p:sldId id="261" r:id="rId76"/>
    <p:sldId id="258" r:id="rId77"/>
    <p:sldId id="263" r:id="rId78"/>
    <p:sldId id="271" r:id="rId79"/>
    <p:sldId id="268" r:id="rId80"/>
    <p:sldId id="276" r:id="rId81"/>
    <p:sldId id="262" r:id="rId82"/>
    <p:sldId id="278" r:id="rId83"/>
    <p:sldId id="290" r:id="rId84"/>
    <p:sldId id="291" r:id="rId85"/>
    <p:sldId id="279" r:id="rId86"/>
    <p:sldId id="269" r:id="rId87"/>
    <p:sldId id="273" r:id="rId88"/>
    <p:sldId id="274" r:id="rId89"/>
    <p:sldId id="267" r:id="rId90"/>
    <p:sldId id="266" r:id="rId91"/>
    <p:sldId id="280" r:id="rId92"/>
    <p:sldId id="281" r:id="rId93"/>
    <p:sldId id="298" r:id="rId94"/>
    <p:sldId id="282" r:id="rId95"/>
    <p:sldId id="265" r:id="rId96"/>
    <p:sldId id="284" r:id="rId97"/>
    <p:sldId id="289" r:id="rId98"/>
    <p:sldId id="264" r:id="rId99"/>
    <p:sldId id="288" r:id="rId100"/>
    <p:sldId id="294" r:id="rId101"/>
    <p:sldId id="299" r:id="rId102"/>
    <p:sldId id="293" r:id="rId103"/>
    <p:sldId id="287" r:id="rId104"/>
    <p:sldId id="295" r:id="rId105"/>
    <p:sldId id="286" r:id="rId106"/>
    <p:sldId id="301" r:id="rId107"/>
    <p:sldId id="300" r:id="rId108"/>
    <p:sldId id="302" r:id="rId109"/>
    <p:sldId id="303" r:id="rId110"/>
    <p:sldId id="260" r:id="rId111"/>
  </p:sldIdLst>
  <p:sldSz cx="12192000" cy="6858000"/>
  <p:notesSz cx="6858000" cy="9144000"/>
  <p:custDataLst>
    <p:tags r:id="rId1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front" id="{7323220A-B824-4436-A839-63DE7267AACB}">
          <p14:sldIdLst/>
        </p14:section>
        <p14:section name="Agenda" id="{D5A79958-0279-46DE-86E8-45C9EE458AC8}">
          <p14:sldIdLst>
            <p14:sldId id="275"/>
            <p14:sldId id="257"/>
          </p14:sldIdLst>
        </p14:section>
        <p14:section name="Content slides" id="{5B049430-06AD-4252-AB01-A6262BB11A7E}">
          <p14:sldIdLst>
            <p14:sldId id="261"/>
            <p14:sldId id="258"/>
            <p14:sldId id="263"/>
            <p14:sldId id="271"/>
            <p14:sldId id="268"/>
            <p14:sldId id="276"/>
            <p14:sldId id="262"/>
            <p14:sldId id="278"/>
            <p14:sldId id="290"/>
            <p14:sldId id="291"/>
            <p14:sldId id="279"/>
            <p14:sldId id="269"/>
            <p14:sldId id="273"/>
            <p14:sldId id="274"/>
            <p14:sldId id="267"/>
            <p14:sldId id="266"/>
            <p14:sldId id="280"/>
            <p14:sldId id="281"/>
            <p14:sldId id="298"/>
            <p14:sldId id="282"/>
            <p14:sldId id="265"/>
            <p14:sldId id="284"/>
            <p14:sldId id="289"/>
            <p14:sldId id="264"/>
            <p14:sldId id="288"/>
            <p14:sldId id="294"/>
            <p14:sldId id="299"/>
            <p14:sldId id="293"/>
            <p14:sldId id="287"/>
            <p14:sldId id="295"/>
            <p14:sldId id="286"/>
            <p14:sldId id="301"/>
            <p14:sldId id="300"/>
            <p14:sldId id="302"/>
            <p14:sldId id="303"/>
          </p14:sldIdLst>
        </p14:section>
        <p14:section name="Cover back" id="{105041E5-E66B-488B-88A1-A36ACF3AE043}">
          <p14:sldIdLst>
            <p14:sldId id="26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D279"/>
    <a:srgbClr val="EEF7C1"/>
    <a:srgbClr val="FAFCE4"/>
    <a:srgbClr val="7979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DC8CC9-57ED-4D10-9E3F-1275B7B6710D}" v="873" dt="2025-09-19T14:46:49.185"/>
  </p1510:revLst>
</p1510:revInfo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533" autoAdjust="0"/>
    <p:restoredTop sz="78224" autoAdjust="0"/>
  </p:normalViewPr>
  <p:slideViewPr>
    <p:cSldViewPr snapToGrid="0" showGuides="1">
      <p:cViewPr varScale="1">
        <p:scale>
          <a:sx n="99" d="100"/>
          <a:sy n="99" d="100"/>
        </p:scale>
        <p:origin x="71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276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theme" Target="theme/theme1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customXml" Target="../customXml/item68.xml"/><Relationship Id="rId84" Type="http://schemas.openxmlformats.org/officeDocument/2006/relationships/slide" Target="slides/slide11.xml"/><Relationship Id="rId89" Type="http://schemas.openxmlformats.org/officeDocument/2006/relationships/slide" Target="slides/slide16.xml"/><Relationship Id="rId112" Type="http://schemas.openxmlformats.org/officeDocument/2006/relationships/notesMaster" Target="notesMasters/notesMaster1.xml"/><Relationship Id="rId16" Type="http://schemas.openxmlformats.org/officeDocument/2006/relationships/customXml" Target="../customXml/item16.xml"/><Relationship Id="rId107" Type="http://schemas.openxmlformats.org/officeDocument/2006/relationships/slide" Target="slides/slide34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74" Type="http://schemas.openxmlformats.org/officeDocument/2006/relationships/slide" Target="slides/slide1.xml"/><Relationship Id="rId79" Type="http://schemas.openxmlformats.org/officeDocument/2006/relationships/slide" Target="slides/slide6.xml"/><Relationship Id="rId102" Type="http://schemas.openxmlformats.org/officeDocument/2006/relationships/slide" Target="slides/slide29.xml"/><Relationship Id="rId5" Type="http://schemas.openxmlformats.org/officeDocument/2006/relationships/customXml" Target="../customXml/item5.xml"/><Relationship Id="rId90" Type="http://schemas.openxmlformats.org/officeDocument/2006/relationships/slide" Target="slides/slide17.xml"/><Relationship Id="rId95" Type="http://schemas.openxmlformats.org/officeDocument/2006/relationships/slide" Target="slides/slide22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113" Type="http://schemas.openxmlformats.org/officeDocument/2006/relationships/handoutMaster" Target="handoutMasters/handoutMaster1.xml"/><Relationship Id="rId118" Type="http://schemas.openxmlformats.org/officeDocument/2006/relationships/tableStyles" Target="tableStyles.xml"/><Relationship Id="rId80" Type="http://schemas.openxmlformats.org/officeDocument/2006/relationships/slide" Target="slides/slide7.xml"/><Relationship Id="rId85" Type="http://schemas.openxmlformats.org/officeDocument/2006/relationships/slide" Target="slides/slide12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slide" Target="slides/slide30.xml"/><Relationship Id="rId108" Type="http://schemas.openxmlformats.org/officeDocument/2006/relationships/slide" Target="slides/slide35.xml"/><Relationship Id="rId54" Type="http://schemas.openxmlformats.org/officeDocument/2006/relationships/customXml" Target="../customXml/item54.xml"/><Relationship Id="rId70" Type="http://schemas.openxmlformats.org/officeDocument/2006/relationships/customXml" Target="../customXml/item70.xml"/><Relationship Id="rId75" Type="http://schemas.openxmlformats.org/officeDocument/2006/relationships/slide" Target="slides/slide2.xml"/><Relationship Id="rId91" Type="http://schemas.openxmlformats.org/officeDocument/2006/relationships/slide" Target="slides/slide18.xml"/><Relationship Id="rId96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tags" Target="tags/tag1.xml"/><Relationship Id="rId119" Type="http://schemas.microsoft.com/office/2015/10/relationships/revisionInfo" Target="revisionInfo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slideMaster" Target="slideMasters/slideMaster1.xml"/><Relationship Id="rId78" Type="http://schemas.openxmlformats.org/officeDocument/2006/relationships/slide" Target="slides/slide5.xml"/><Relationship Id="rId81" Type="http://schemas.openxmlformats.org/officeDocument/2006/relationships/slide" Target="slides/slide8.xml"/><Relationship Id="rId86" Type="http://schemas.openxmlformats.org/officeDocument/2006/relationships/slide" Target="slides/slide13.xml"/><Relationship Id="rId94" Type="http://schemas.openxmlformats.org/officeDocument/2006/relationships/slide" Target="slides/slide21.xml"/><Relationship Id="rId99" Type="http://schemas.openxmlformats.org/officeDocument/2006/relationships/slide" Target="slides/slide26.xml"/><Relationship Id="rId101" Type="http://schemas.openxmlformats.org/officeDocument/2006/relationships/slide" Target="slides/slide28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slide" Target="slides/slide36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slide" Target="slides/slide3.xml"/><Relationship Id="rId97" Type="http://schemas.openxmlformats.org/officeDocument/2006/relationships/slide" Target="slides/slide24.xml"/><Relationship Id="rId104" Type="http://schemas.openxmlformats.org/officeDocument/2006/relationships/slide" Target="slides/slide31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slide" Target="slides/slide19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slide" Target="slides/slide14.xml"/><Relationship Id="rId110" Type="http://schemas.openxmlformats.org/officeDocument/2006/relationships/slide" Target="slides/slide37.xml"/><Relationship Id="rId115" Type="http://schemas.openxmlformats.org/officeDocument/2006/relationships/presProps" Target="presProps.xml"/><Relationship Id="rId61" Type="http://schemas.openxmlformats.org/officeDocument/2006/relationships/customXml" Target="../customXml/item61.xml"/><Relationship Id="rId82" Type="http://schemas.openxmlformats.org/officeDocument/2006/relationships/slide" Target="slides/slide9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slide" Target="slides/slide4.xml"/><Relationship Id="rId100" Type="http://schemas.openxmlformats.org/officeDocument/2006/relationships/slide" Target="slides/slide27.xml"/><Relationship Id="rId105" Type="http://schemas.openxmlformats.org/officeDocument/2006/relationships/slide" Target="slides/slide32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slide" Target="slides/slide20.xml"/><Relationship Id="rId98" Type="http://schemas.openxmlformats.org/officeDocument/2006/relationships/slide" Target="slides/slide25.xml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116" Type="http://schemas.openxmlformats.org/officeDocument/2006/relationships/viewProps" Target="viewProp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slide" Target="slides/slide10.xml"/><Relationship Id="rId88" Type="http://schemas.openxmlformats.org/officeDocument/2006/relationships/slide" Target="slides/slide15.xml"/><Relationship Id="rId111" Type="http://schemas.openxmlformats.org/officeDocument/2006/relationships/slide" Target="slides/slide38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106" Type="http://schemas.openxmlformats.org/officeDocument/2006/relationships/slide" Target="slides/slide3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8">
            <a:extLst>
              <a:ext uri="{FF2B5EF4-FFF2-40B4-BE49-F238E27FC236}">
                <a16:creationId xmlns:a16="http://schemas.microsoft.com/office/drawing/2014/main" id="{AE845206-9D4B-4268-8A29-9556DF4E229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9 September 2025</a:t>
            </a:fld>
            <a:endParaRPr lang="en-GB" sz="800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DF349B49-B9DF-4BAC-A781-810C4D36F4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8570490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2" name="Footer Placeholder 10">
            <a:extLst>
              <a:ext uri="{FF2B5EF4-FFF2-40B4-BE49-F238E27FC236}">
                <a16:creationId xmlns:a16="http://schemas.microsoft.com/office/drawing/2014/main" id="{4B53B10D-D604-4E2D-B18E-A2B8163CC1E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8752305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3" name="Header Placeholder 12">
            <a:extLst>
              <a:ext uri="{FF2B5EF4-FFF2-40B4-BE49-F238E27FC236}">
                <a16:creationId xmlns:a16="http://schemas.microsoft.com/office/drawing/2014/main" id="{0225AF11-4B47-41F0-B130-3DC91DD63C4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8570490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ED603FBB-C012-44F8-8D4E-1E5BCC6355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314247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CE09EA81-6923-4332-8C9E-30AE045AFB6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8EBAC05E-8F24-4752-8343-003B6B511FC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9 September 2025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1D693BA3-BE27-457C-84EF-2CE89AE4DB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857049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F71DC945-9758-4703-A041-B00CC90596B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875230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9AA08409-7D69-4F6B-8F0E-3BF399AD47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857049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580543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1F3E58-3132-771E-8FBC-8097ACC4A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20B414-39BC-092C-0652-66F04F4081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127C72-3999-D773-41CE-193BF23234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e will get to include paths later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C0AC4B-FE50-6B85-AF58-33A2B0D62E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3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6498684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est of presentation will show </a:t>
            </a:r>
            <a:r>
              <a:rPr lang="en-GB" dirty="0" err="1"/>
              <a:t>gcc</a:t>
            </a:r>
            <a:r>
              <a:rPr lang="en-GB" dirty="0"/>
              <a:t> only.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5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6155048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The </a:t>
            </a:r>
            <a:r>
              <a:rPr lang="da-DK" dirty="0" err="1"/>
              <a:t>cat</a:t>
            </a:r>
            <a:r>
              <a:rPr lang="da-DK" dirty="0"/>
              <a:t> </a:t>
            </a:r>
            <a:r>
              <a:rPr lang="da-DK" dirty="0" err="1"/>
              <a:t>sleeps</a:t>
            </a:r>
            <a:r>
              <a:rPr lang="da-DK" dirty="0"/>
              <a:t>.</a:t>
            </a:r>
          </a:p>
          <a:p>
            <a:endParaRPr lang="da-DK" dirty="0"/>
          </a:p>
          <a:p>
            <a:r>
              <a:rPr lang="da-DK" dirty="0"/>
              <a:t>The </a:t>
            </a:r>
            <a:r>
              <a:rPr lang="da-DK" dirty="0" err="1"/>
              <a:t>cat</a:t>
            </a:r>
            <a:r>
              <a:rPr lang="da-DK" dirty="0"/>
              <a:t> </a:t>
            </a:r>
            <a:r>
              <a:rPr lang="da-DK" dirty="0" err="1"/>
              <a:t>reads</a:t>
            </a:r>
            <a:r>
              <a:rPr lang="da-DK" dirty="0"/>
              <a:t> </a:t>
            </a:r>
            <a:r>
              <a:rPr lang="da-DK" dirty="0" err="1"/>
              <a:t>books</a:t>
            </a:r>
            <a:r>
              <a:rPr lang="da-DK" dirty="0"/>
              <a:t>.</a:t>
            </a:r>
            <a:br>
              <a:rPr lang="da-DK" dirty="0"/>
            </a:br>
            <a:endParaRPr lang="da-DK" dirty="0"/>
          </a:p>
          <a:p>
            <a:r>
              <a:rPr lang="da-DK" dirty="0"/>
              <a:t>Works on TYPES and EXPRESSIONS and STAT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8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7870020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Acturlly</a:t>
            </a:r>
            <a:r>
              <a:rPr lang="en-GB" dirty="0"/>
              <a:t> you CAN make a bucket of </a:t>
            </a:r>
            <a:r>
              <a:rPr lang="en-GB" dirty="0" err="1"/>
              <a:t>npaint</a:t>
            </a:r>
            <a:r>
              <a:rPr lang="en-GB" dirty="0"/>
              <a:t> and a horse addable in C++, but that is another thing.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9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3432273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A04654-2EA7-9245-D003-E97E14745C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8E996D-1370-DC87-69E7-7686D321C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2BF8A7-40AD-CC1B-D22B-0F7C38B750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err="1"/>
              <a:t>Lets</a:t>
            </a:r>
            <a:r>
              <a:rPr lang="da-DK" dirty="0"/>
              <a:t> </a:t>
            </a:r>
            <a:r>
              <a:rPr lang="da-DK" dirty="0" err="1"/>
              <a:t>dwell</a:t>
            </a:r>
            <a:r>
              <a:rPr lang="da-DK" dirty="0"/>
              <a:t> a </a:t>
            </a:r>
            <a:r>
              <a:rPr lang="da-DK" dirty="0" err="1"/>
              <a:t>little</a:t>
            </a:r>
            <a:r>
              <a:rPr lang="da-DK" dirty="0"/>
              <a:t> on ”</a:t>
            </a:r>
            <a:r>
              <a:rPr lang="da-DK" dirty="0" err="1"/>
              <a:t>declared</a:t>
            </a:r>
            <a:r>
              <a:rPr lang="da-DK" dirty="0"/>
              <a:t>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E177F1-3BFB-6FA1-02DA-171763F525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0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5786065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8B1635-4794-48A0-8C80-551E8AD5F9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D06385-E079-0263-6BDC-18F4169FB5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9D6A79-BA06-7B21-62C0-C1D393F87A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declaration is “the signature” of the function, class </a:t>
            </a:r>
            <a:r>
              <a:rPr lang="en-GB" dirty="0" err="1"/>
              <a:t>e.t.c</a:t>
            </a:r>
            <a:r>
              <a:rPr lang="en-GB" dirty="0"/>
              <a:t>.</a:t>
            </a:r>
          </a:p>
          <a:p>
            <a:endParaRPr lang="en-GB" dirty="0"/>
          </a:p>
          <a:p>
            <a:r>
              <a:rPr lang="en-GB" dirty="0"/>
              <a:t>What things are called becomes very important in the linking stage.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289EB1-E5EE-74D8-673D-F99D6EEDF4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2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7635647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f your error is like, “this does not add up”, it is most likely compilation you have to consider.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3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5489052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xplain what this error is.</a:t>
            </a:r>
          </a:p>
          <a:p>
            <a:endParaRPr lang="en-GB" dirty="0"/>
          </a:p>
          <a:p>
            <a:r>
              <a:rPr lang="en-GB" dirty="0"/>
              <a:t>This is advanced C++ and while relevant probably out of scope.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6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1566241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akes you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own object c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Library code from the compil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Library code from your chip vendo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nd puts it in the correct place and order so it eventually fits in the chips memory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0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32381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800" dirty="0"/>
              <a:t>.TEXT: Compiled machine instructions</a:t>
            </a:r>
          </a:p>
          <a:p>
            <a:pPr lvl="1"/>
            <a:r>
              <a:rPr lang="en-US" sz="1800" dirty="0"/>
              <a:t>.CONST Read-only data (constants, string literals)</a:t>
            </a:r>
          </a:p>
          <a:p>
            <a:pPr lvl="1"/>
            <a:r>
              <a:rPr lang="en-US" sz="1800" dirty="0"/>
              <a:t>BSS: Global &amp; static variables (zero-initialized or </a:t>
            </a:r>
            <a:r>
              <a:rPr lang="en-US" sz="1800" dirty="0" err="1"/>
              <a:t>unintialized</a:t>
            </a:r>
            <a:r>
              <a:rPr lang="en-US" sz="1800" dirty="0"/>
              <a:t>)</a:t>
            </a:r>
          </a:p>
          <a:p>
            <a:pPr lvl="1"/>
            <a:r>
              <a:rPr lang="en-US" sz="1800" dirty="0"/>
              <a:t>.DATA: Global &amp; static variables (initialized)</a:t>
            </a:r>
          </a:p>
          <a:p>
            <a:pPr lvl="1"/>
            <a:r>
              <a:rPr lang="en-US" sz="1800" dirty="0"/>
              <a:t>.HEAP: Dynamically allocated memory</a:t>
            </a:r>
          </a:p>
          <a:p>
            <a:pPr lvl="1"/>
            <a:r>
              <a:rPr lang="en-US" sz="1800" dirty="0"/>
              <a:t>.STACK: Function calls, local variables</a:t>
            </a:r>
          </a:p>
          <a:p>
            <a:pPr lvl="1"/>
            <a:endParaRPr lang="en-GB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1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813832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e will de mystify the build process</a:t>
            </a:r>
          </a:p>
          <a:p>
            <a:endParaRPr lang="en-GB" dirty="0"/>
          </a:p>
          <a:p>
            <a:r>
              <a:rPr lang="en-GB" dirty="0"/>
              <a:t>Break it down in to steps</a:t>
            </a:r>
          </a:p>
          <a:p>
            <a:endParaRPr lang="en-GB" dirty="0"/>
          </a:p>
          <a:p>
            <a:r>
              <a:rPr lang="en-GB" dirty="0"/>
              <a:t>Explain what those steps do and what sort of errors they can </a:t>
            </a:r>
            <a:r>
              <a:rPr lang="en-GB" dirty="0" err="1"/>
              <a:t>vause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8931161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 </a:t>
            </a:r>
            <a:r>
              <a:rPr lang="en-GB" dirty="0" err="1"/>
              <a:t>Lkinux</a:t>
            </a:r>
            <a:r>
              <a:rPr lang="en-GB" dirty="0"/>
              <a:t> and mac devices, you also need to ensure you have </a:t>
            </a:r>
            <a:r>
              <a:rPr lang="en-GB" dirty="0" err="1"/>
              <a:t>thr</a:t>
            </a:r>
            <a:r>
              <a:rPr lang="en-GB" dirty="0"/>
              <a:t> </a:t>
            </a:r>
            <a:r>
              <a:rPr lang="en-GB" dirty="0" err="1"/>
              <a:t>peoper</a:t>
            </a:r>
            <a:r>
              <a:rPr lang="en-GB" dirty="0"/>
              <a:t> permissions.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7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724827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dirty="0"/>
              <a:t>The result of the preprocessor is a “translation unit”</a:t>
            </a:r>
          </a:p>
          <a:p>
            <a:pPr marL="171450" indent="-171450">
              <a:buFontTx/>
              <a:buChar char="-"/>
            </a:pPr>
            <a:r>
              <a:rPr lang="en-GB" dirty="0"/>
              <a:t>.o contains object code (machine code mixed with instructions to the linker)</a:t>
            </a:r>
          </a:p>
          <a:p>
            <a:pPr marL="171450" indent="-171450">
              <a:buFontTx/>
              <a:buChar char="-"/>
            </a:pPr>
            <a:endParaRPr lang="en-GB" dirty="0"/>
          </a:p>
          <a:p>
            <a:pPr marL="171450" indent="-171450">
              <a:buFontTx/>
              <a:buChar char="-"/>
            </a:pPr>
            <a:endParaRPr lang="en-GB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44709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b="1" dirty="0"/>
              <a:t>* INCLUDE *</a:t>
            </a:r>
          </a:p>
          <a:p>
            <a:endParaRPr lang="en-US" dirty="0"/>
          </a:p>
          <a:p>
            <a:r>
              <a:rPr lang="en-US" dirty="0"/>
              <a:t>1 Entering a new file</a:t>
            </a:r>
          </a:p>
          <a:p>
            <a:r>
              <a:rPr lang="en-US" dirty="0"/>
              <a:t>2 Returning to the previous file</a:t>
            </a:r>
          </a:p>
          <a:p>
            <a:r>
              <a:rPr lang="en-US" dirty="0"/>
              <a:t>3 System header (Suppress warnings and diagnostics originating from here)</a:t>
            </a:r>
          </a:p>
          <a:p>
            <a:r>
              <a:rPr lang="en-US" dirty="0"/>
              <a:t>4 C language linkage (e.g. extern "C")</a:t>
            </a:r>
          </a:p>
          <a:p>
            <a:endParaRPr lang="en-US" dirty="0"/>
          </a:p>
          <a:p>
            <a:r>
              <a:rPr lang="en-US" dirty="0"/>
              <a:t># 0 "main.cpp"</a:t>
            </a:r>
            <a:br>
              <a:rPr lang="en-US" dirty="0"/>
            </a:br>
            <a:r>
              <a:rPr lang="en-US" dirty="0"/>
              <a:t>Marks the start of processing your main.cpp.</a:t>
            </a:r>
          </a:p>
          <a:p>
            <a:r>
              <a:rPr lang="en-US" dirty="0"/>
              <a:t># 0 "&lt;built-in&gt;"</a:t>
            </a:r>
            <a:br>
              <a:rPr lang="en-US" dirty="0"/>
            </a:br>
            <a:r>
              <a:rPr lang="en-US" dirty="0"/>
              <a:t>Switches to compiler-provided </a:t>
            </a:r>
            <a:r>
              <a:rPr lang="en-US" b="1" dirty="0"/>
              <a:t>built-in definitions</a:t>
            </a:r>
            <a:r>
              <a:rPr lang="en-US" dirty="0"/>
              <a:t>.</a:t>
            </a:r>
          </a:p>
          <a:p>
            <a:r>
              <a:rPr lang="en-US" dirty="0"/>
              <a:t># 0 "&lt;command-line&gt;"</a:t>
            </a:r>
            <a:br>
              <a:rPr lang="en-US" dirty="0"/>
            </a:br>
            <a:r>
              <a:rPr lang="en-US" dirty="0"/>
              <a:t>Switches to any macros or includes provided </a:t>
            </a:r>
            <a:r>
              <a:rPr lang="en-US" b="1" dirty="0"/>
              <a:t>via the command line</a:t>
            </a:r>
            <a:r>
              <a:rPr lang="en-US" dirty="0"/>
              <a:t> (like -D flags).</a:t>
            </a:r>
          </a:p>
          <a:p>
            <a:r>
              <a:rPr lang="en-US" dirty="0"/>
              <a:t># 1 "/</a:t>
            </a:r>
            <a:r>
              <a:rPr lang="en-US" dirty="0" err="1"/>
              <a:t>usr</a:t>
            </a:r>
            <a:r>
              <a:rPr lang="en-US" dirty="0"/>
              <a:t>/include/</a:t>
            </a:r>
            <a:r>
              <a:rPr lang="en-US" dirty="0" err="1"/>
              <a:t>stdc-predef.h</a:t>
            </a:r>
            <a:r>
              <a:rPr lang="en-US" dirty="0"/>
              <a:t>" 1 3 4</a:t>
            </a:r>
            <a:br>
              <a:rPr lang="en-US" dirty="0"/>
            </a:br>
            <a:r>
              <a:rPr lang="en-US" dirty="0"/>
              <a:t>Now we're in a real file, </a:t>
            </a:r>
            <a:r>
              <a:rPr lang="en-US" dirty="0" err="1"/>
              <a:t>stdc-predef.h</a:t>
            </a:r>
            <a:r>
              <a:rPr lang="en-US" dirty="0"/>
              <a:t>, at line 1.</a:t>
            </a:r>
            <a:br>
              <a:rPr lang="en-US" dirty="0"/>
            </a:br>
            <a:r>
              <a:rPr lang="en-US" dirty="0"/>
              <a:t>The flags here mean:</a:t>
            </a:r>
          </a:p>
          <a:p>
            <a:r>
              <a:rPr lang="en-US" dirty="0"/>
              <a:t>1: Entering a new file.</a:t>
            </a:r>
          </a:p>
          <a:p>
            <a:r>
              <a:rPr lang="en-US" dirty="0"/>
              <a:t>3: This is a system header.</a:t>
            </a:r>
          </a:p>
          <a:p>
            <a:r>
              <a:rPr lang="en-US" dirty="0"/>
              <a:t>4: This header is extern "C" by default.</a:t>
            </a:r>
          </a:p>
          <a:p>
            <a:r>
              <a:rPr lang="en-US" dirty="0"/>
              <a:t># 0 "&lt;command-line&gt;" 2</a:t>
            </a:r>
            <a:br>
              <a:rPr lang="en-US" dirty="0"/>
            </a:br>
            <a:r>
              <a:rPr lang="en-US" dirty="0"/>
              <a:t>Back to command-line context; 2 means leaving a file.</a:t>
            </a:r>
          </a:p>
          <a:p>
            <a:r>
              <a:rPr lang="en-US" dirty="0"/>
              <a:t># 1 "main.cpp"</a:t>
            </a:r>
            <a:br>
              <a:rPr lang="en-US" dirty="0"/>
            </a:br>
            <a:r>
              <a:rPr lang="en-US" dirty="0"/>
              <a:t>Back to main.cpp.</a:t>
            </a:r>
          </a:p>
          <a:p>
            <a:r>
              <a:rPr lang="en-US" dirty="0"/>
              <a:t># 1 "</a:t>
            </a:r>
            <a:r>
              <a:rPr lang="en-US" dirty="0" err="1"/>
              <a:t>class.h</a:t>
            </a:r>
            <a:r>
              <a:rPr lang="en-US" dirty="0"/>
              <a:t>" 1</a:t>
            </a:r>
            <a:br>
              <a:rPr lang="en-US" dirty="0"/>
            </a:br>
            <a:r>
              <a:rPr lang="en-US" dirty="0"/>
              <a:t>Entering </a:t>
            </a:r>
            <a:r>
              <a:rPr lang="en-US" dirty="0" err="1"/>
              <a:t>class.h</a:t>
            </a:r>
            <a:r>
              <a:rPr lang="en-US" dirty="0"/>
              <a:t>.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4012383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er sized files.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7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8679755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4348-B15E-D5D5-4362-361B9D1A65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D83C8D-E784-591B-6F1E-3608ED3DF5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AF6DC9-A03C-BD59-E73E-5424B9A626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INCLUD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ANIMATION TIOL GOD L</a:t>
            </a:r>
            <a:r>
              <a:rPr lang="da-DK" sz="2800" b="1" dirty="0"/>
              <a:t>ØSNIONG</a:t>
            </a:r>
            <a:endParaRPr lang="en-US" sz="28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This may not be an error you see during compilation and </a:t>
            </a:r>
            <a:r>
              <a:rPr lang="en-US" sz="2800" b="1" dirty="0" err="1"/>
              <a:t>mayonly</a:t>
            </a:r>
            <a:r>
              <a:rPr lang="en-US" sz="2800" b="1" dirty="0"/>
              <a:t> be visible at runti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142C8-C998-D811-3CD8-8B6B008216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7698543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0B0456-693C-5FC7-2843-AADB38F5FA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489F55-B7F9-48AC-C00D-72EE3AA896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D803B4-8868-5CBF-F25B-634ACBE426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er sized files.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F54BEB-5CCD-370D-FDC5-1DEECC34C7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12417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78DA86-A0E9-4108-EB9B-8254DC7B8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3AD59B-8B04-C6BD-163F-2C08EF1A69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81DC7D-C3DD-BAC1-F5C2-F31C9391A0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er sized files.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752823-FA1D-6BCD-AD6B-8151D7CFEF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1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054130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74047-A331-A983-FF90-279F5B433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859879-E6B6-9900-6E36-0A59758B2F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61D472-9A0F-A7FB-2B60-6F258B7EC9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er sized files.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507DD0-FA00-0D34-6648-0B55269506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936396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0B39E84-E935-4F2A-A87F-57F9CE82AB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031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0B39E84-E935-4F2A-A87F-57F9CE82A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A0C67C3-09B1-41EF-A4A9-DC60FD51BBF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15D2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B39EF051-99E5-4717-9112-96AB538F03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782" t="84348"/>
          <a:stretch>
            <a:fillRect/>
          </a:stretch>
        </p:blipFill>
        <p:spPr>
          <a:xfrm>
            <a:off x="0" y="0"/>
            <a:ext cx="9838620" cy="3128741"/>
          </a:xfrm>
          <a:custGeom>
            <a:avLst/>
            <a:gdLst>
              <a:gd name="connsiteX0" fmla="*/ 0 w 9838620"/>
              <a:gd name="connsiteY0" fmla="*/ 0 h 3128741"/>
              <a:gd name="connsiteX1" fmla="*/ 9838620 w 9838620"/>
              <a:gd name="connsiteY1" fmla="*/ 0 h 3128741"/>
              <a:gd name="connsiteX2" fmla="*/ 9838620 w 9838620"/>
              <a:gd name="connsiteY2" fmla="*/ 3128741 h 3128741"/>
              <a:gd name="connsiteX3" fmla="*/ 0 w 9838620"/>
              <a:gd name="connsiteY3" fmla="*/ 3128741 h 312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38620" h="3128741">
                <a:moveTo>
                  <a:pt x="0" y="0"/>
                </a:moveTo>
                <a:lnTo>
                  <a:pt x="9838620" y="0"/>
                </a:lnTo>
                <a:lnTo>
                  <a:pt x="9838620" y="3128741"/>
                </a:lnTo>
                <a:lnTo>
                  <a:pt x="0" y="3128741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204" y="720000"/>
            <a:ext cx="7874576" cy="3258000"/>
          </a:xfrm>
          <a:prstGeom prst="rect">
            <a:avLst/>
          </a:prstGeom>
        </p:spPr>
        <p:txBody>
          <a:bodyPr vert="horz" anchor="b"/>
          <a:lstStyle>
            <a:lvl1pPr algn="l">
              <a:defRPr sz="60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27080" y="4157190"/>
            <a:ext cx="7886700" cy="720000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41" name="Date Placeholder 140">
            <a:extLst>
              <a:ext uri="{FF2B5EF4-FFF2-40B4-BE49-F238E27FC236}">
                <a16:creationId xmlns:a16="http://schemas.microsoft.com/office/drawing/2014/main" id="{01D05001-87C5-47BD-8FDE-D06075C46E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1950" y="6136930"/>
            <a:ext cx="1968500" cy="360000"/>
          </a:xfrm>
          <a:prstGeom prst="rect">
            <a:avLst/>
          </a:prstGeom>
        </p:spPr>
        <p:txBody>
          <a:bodyPr anchor="b" anchorCtr="0"/>
          <a:lstStyle>
            <a:lvl1pPr algn="l">
              <a:defRPr sz="1200">
                <a:latin typeface="+mj-lt"/>
              </a:defRPr>
            </a:lvl1pPr>
          </a:lstStyle>
          <a:p>
            <a:fld id="{88CE53BF-A2B6-4C53-ADC8-0614C4897278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42" name="Footer Placeholder 141" hidden="1">
            <a:extLst>
              <a:ext uri="{FF2B5EF4-FFF2-40B4-BE49-F238E27FC236}">
                <a16:creationId xmlns:a16="http://schemas.microsoft.com/office/drawing/2014/main" id="{B7E1E39D-7F21-4A6E-BA39-F9DDE48E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anchor="b" anchorCtr="0"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3" name="Slide Number Placeholder 142" hidden="1">
            <a:extLst>
              <a:ext uri="{FF2B5EF4-FFF2-40B4-BE49-F238E27FC236}">
                <a16:creationId xmlns:a16="http://schemas.microsoft.com/office/drawing/2014/main" id="{F5A55695-81EF-49A8-9F93-D616792E9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88A14E-5FA8-4B77-B2EF-7CB09B3532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27079" y="6136930"/>
            <a:ext cx="7886700" cy="360000"/>
          </a:xfrm>
        </p:spPr>
        <p:txBody>
          <a:bodyPr anchor="b"/>
          <a:lstStyle>
            <a:lvl1pPr marL="0" indent="0">
              <a:buNone/>
              <a:defRPr sz="1200">
                <a:latin typeface="+mj-lt"/>
              </a:defRPr>
            </a:lvl1pPr>
          </a:lstStyle>
          <a:p>
            <a:pPr lvl="0"/>
            <a:r>
              <a:rPr lang="en-GB" dirty="0"/>
              <a:t>Insert name and title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7F7654C4-B13C-432D-BA3F-0596EA15B95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B9E59B-AFF9-4A38-8B02-4442A6007E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1968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B9E59B-AFF9-4A38-8B02-4442A6007E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F5302A81-211C-40C1-B812-2FBCD82BEFDB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15D2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F1B146C6-C2FD-4E74-B963-BF8DD58529C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2404" r="83424" b="33193"/>
          <a:stretch>
            <a:fillRect/>
          </a:stretch>
        </p:blipFill>
        <p:spPr>
          <a:xfrm>
            <a:off x="8887614" y="1"/>
            <a:ext cx="3304386" cy="6858000"/>
          </a:xfrm>
          <a:custGeom>
            <a:avLst/>
            <a:gdLst>
              <a:gd name="connsiteX0" fmla="*/ 0 w 3304386"/>
              <a:gd name="connsiteY0" fmla="*/ 0 h 6858000"/>
              <a:gd name="connsiteX1" fmla="*/ 3304386 w 3304386"/>
              <a:gd name="connsiteY1" fmla="*/ 0 h 6858000"/>
              <a:gd name="connsiteX2" fmla="*/ 3304386 w 3304386"/>
              <a:gd name="connsiteY2" fmla="*/ 6858000 h 6858000"/>
              <a:gd name="connsiteX3" fmla="*/ 0 w 33043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4386" h="6858000">
                <a:moveTo>
                  <a:pt x="0" y="0"/>
                </a:moveTo>
                <a:lnTo>
                  <a:pt x="3304386" y="0"/>
                </a:lnTo>
                <a:lnTo>
                  <a:pt x="330438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2037" y="2160000"/>
            <a:ext cx="8513763" cy="2524143"/>
          </a:xfrm>
          <a:prstGeom prst="rect">
            <a:avLst/>
          </a:prstGeom>
        </p:spPr>
        <p:txBody>
          <a:bodyPr vert="horz"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BF915E-461F-4603-81FD-7CE9A609A8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/>
          <a:p>
            <a:fld id="{5F8AFDAF-8D09-4A4D-823A-19DFB57FF49D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D38AD6-C792-434E-B7F4-5A7F6C509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87A2C8-F649-44C9-8EED-81E70FE99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40C0341F-D5D8-4207-AD91-48F76B3B073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382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2F6C965-6BD9-4DE0-A6F0-F44E02A73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4855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2F6C965-6BD9-4DE0-A6F0-F44E02A73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1950" y="674862"/>
            <a:ext cx="11471250" cy="578448"/>
          </a:xfrm>
          <a:prstGeom prst="rect">
            <a:avLst/>
          </a:prstGeo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7050C8-AEE1-4011-93C8-A90448D8CDB1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361950" y="1281196"/>
            <a:ext cx="11469688" cy="501552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1950" y="2004729"/>
            <a:ext cx="11471250" cy="428392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DF1E64-0BC0-4941-8FFB-3A71A98EA4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18738" y="360000"/>
            <a:ext cx="1244624" cy="192091"/>
          </a:xfrm>
          <a:prstGeom prst="rect">
            <a:avLst/>
          </a:prstGeom>
        </p:spPr>
        <p:txBody>
          <a:bodyPr/>
          <a:lstStyle/>
          <a:p>
            <a:fld id="{77716C50-9109-4F8E-BA6C-292F5F15BEBC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EFDC879-555B-4B99-8F4C-5066F0F20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1950" y="360000"/>
            <a:ext cx="3581400" cy="1920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F63A2C-6198-4B31-B738-56535BA7E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4925" y="360000"/>
            <a:ext cx="366713" cy="192091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DBD0C9-B178-4683-A525-BF0B2376B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572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DBD0C9-B178-4683-A525-BF0B2376B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1950" y="2004732"/>
            <a:ext cx="8510588" cy="4292551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232900" y="2004732"/>
            <a:ext cx="2600300" cy="42925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400093C-71FA-44E8-845A-2C3D24084D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50" y="674862"/>
            <a:ext cx="11471250" cy="578448"/>
          </a:xfrm>
          <a:prstGeom prst="rect">
            <a:avLst/>
          </a:prstGeo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EFA942C-B2AA-4D39-A449-680DF8AF2A99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361950" y="1281196"/>
            <a:ext cx="11469688" cy="501552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4" name="Date Placeholder 6">
            <a:extLst>
              <a:ext uri="{FF2B5EF4-FFF2-40B4-BE49-F238E27FC236}">
                <a16:creationId xmlns:a16="http://schemas.microsoft.com/office/drawing/2014/main" id="{FDEA0929-C5F5-4B03-92CF-45C6EA1F0C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18738" y="360000"/>
            <a:ext cx="1244624" cy="192091"/>
          </a:xfrm>
          <a:prstGeom prst="rect">
            <a:avLst/>
          </a:prstGeom>
        </p:spPr>
        <p:txBody>
          <a:bodyPr/>
          <a:lstStyle/>
          <a:p>
            <a:fld id="{77716C50-9109-4F8E-BA6C-292F5F15BEBC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5" name="Footer Placeholder 7">
            <a:extLst>
              <a:ext uri="{FF2B5EF4-FFF2-40B4-BE49-F238E27FC236}">
                <a16:creationId xmlns:a16="http://schemas.microsoft.com/office/drawing/2014/main" id="{69C3ED2A-C90F-43BF-A998-401A4DACC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1950" y="360000"/>
            <a:ext cx="3581400" cy="1920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D114BE27-4CDD-4CE2-85B6-268EAC850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4925" y="360000"/>
            <a:ext cx="366713" cy="192091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9268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139D90-62CA-4E16-8FC1-9FFD39DB0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487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139D90-62CA-4E16-8FC1-9FFD39DB0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1949" y="2004730"/>
            <a:ext cx="5020933" cy="430980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6000" y="2004729"/>
            <a:ext cx="5735638" cy="430980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01EDD47-B4FC-45BB-86CB-BA793E9A9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50" y="674862"/>
            <a:ext cx="11471250" cy="578448"/>
          </a:xfrm>
          <a:prstGeom prst="rect">
            <a:avLst/>
          </a:prstGeo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8344E32-6748-413C-80AA-4B90A4B223AC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361950" y="1281196"/>
            <a:ext cx="11469688" cy="501552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4" name="Date Placeholder 6">
            <a:extLst>
              <a:ext uri="{FF2B5EF4-FFF2-40B4-BE49-F238E27FC236}">
                <a16:creationId xmlns:a16="http://schemas.microsoft.com/office/drawing/2014/main" id="{329A7FCD-68DD-4CF4-AF9C-908B598F54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18738" y="360000"/>
            <a:ext cx="1244624" cy="192091"/>
          </a:xfrm>
          <a:prstGeom prst="rect">
            <a:avLst/>
          </a:prstGeom>
        </p:spPr>
        <p:txBody>
          <a:bodyPr/>
          <a:lstStyle/>
          <a:p>
            <a:fld id="{77716C50-9109-4F8E-BA6C-292F5F15BEBC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5" name="Footer Placeholder 7">
            <a:extLst>
              <a:ext uri="{FF2B5EF4-FFF2-40B4-BE49-F238E27FC236}">
                <a16:creationId xmlns:a16="http://schemas.microsoft.com/office/drawing/2014/main" id="{85177CA5-E4BB-4C12-81F0-83D95C463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1950" y="360000"/>
            <a:ext cx="3581400" cy="1920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8F4FCADD-0EF6-47D0-BD8C-8ABA92142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4925" y="360000"/>
            <a:ext cx="366713" cy="192091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1853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1E6F74-DFEC-41A4-86F4-E9CB96E8F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665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1E6F74-DFEC-41A4-86F4-E9CB96E8F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1950" y="2004728"/>
            <a:ext cx="4296314" cy="4301181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382883" y="2004728"/>
            <a:ext cx="2881223" cy="4301181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88725" y="2004728"/>
            <a:ext cx="2841325" cy="430118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753B960-3FAF-4E8C-9F5F-E72E11924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50" y="674862"/>
            <a:ext cx="11471250" cy="578448"/>
          </a:xfrm>
          <a:prstGeom prst="rect">
            <a:avLst/>
          </a:prstGeo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849240A-A91B-4310-B6EC-23B628853F34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361950" y="1281196"/>
            <a:ext cx="11469688" cy="501552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1D885160-C9B3-4C13-9E16-82E5C841AE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18738" y="360000"/>
            <a:ext cx="1244624" cy="192091"/>
          </a:xfrm>
          <a:prstGeom prst="rect">
            <a:avLst/>
          </a:prstGeom>
        </p:spPr>
        <p:txBody>
          <a:bodyPr/>
          <a:lstStyle/>
          <a:p>
            <a:fld id="{77716C50-9109-4F8E-BA6C-292F5F15BEBC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296FC9B7-584F-45DA-8018-EC0FD4B13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1950" y="360000"/>
            <a:ext cx="3581400" cy="1920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FCC9E5FF-04E2-49BD-9A29-3E73AD27F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4925" y="360000"/>
            <a:ext cx="366713" cy="192091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5885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3C80A0-8823-4CB7-9531-1356FD3FFD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321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3C80A0-8823-4CB7-9531-1356FD3FF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1950" y="1992702"/>
            <a:ext cx="5545650" cy="4321834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1992702"/>
            <a:ext cx="5734050" cy="4190436"/>
          </a:xfrm>
          <a:solidFill>
            <a:schemeClr val="bg1">
              <a:lumMod val="85000"/>
            </a:schemeClr>
          </a:solidFill>
        </p:spPr>
        <p:txBody>
          <a:bodyPr tIns="648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8C64C1-3630-44AF-9E91-3A358852FD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3830" y="4633812"/>
            <a:ext cx="1972800" cy="1274400"/>
          </a:xfrm>
        </p:spPr>
        <p:txBody>
          <a:bodyPr anchor="b" anchorCtr="0"/>
          <a:lstStyle>
            <a:lvl1pPr marL="0" indent="0" defTabSz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933CBD0-435E-41B7-93F4-23A4FE49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50" y="674862"/>
            <a:ext cx="11471250" cy="578448"/>
          </a:xfrm>
          <a:prstGeom prst="rect">
            <a:avLst/>
          </a:prstGeo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391C52E-B04B-47D5-A8BD-46D58B279AF1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361950" y="1281196"/>
            <a:ext cx="11469688" cy="501552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4" name="Date Placeholder 6">
            <a:extLst>
              <a:ext uri="{FF2B5EF4-FFF2-40B4-BE49-F238E27FC236}">
                <a16:creationId xmlns:a16="http://schemas.microsoft.com/office/drawing/2014/main" id="{284F310E-D8F5-43AC-A4B3-FC86B020DD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18738" y="360000"/>
            <a:ext cx="1244624" cy="192091"/>
          </a:xfrm>
          <a:prstGeom prst="rect">
            <a:avLst/>
          </a:prstGeom>
        </p:spPr>
        <p:txBody>
          <a:bodyPr/>
          <a:lstStyle/>
          <a:p>
            <a:fld id="{77716C50-9109-4F8E-BA6C-292F5F15BEBC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5" name="Footer Placeholder 7">
            <a:extLst>
              <a:ext uri="{FF2B5EF4-FFF2-40B4-BE49-F238E27FC236}">
                <a16:creationId xmlns:a16="http://schemas.microsoft.com/office/drawing/2014/main" id="{7CDAE287-7192-474D-B25E-79AB9B9203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1950" y="360000"/>
            <a:ext cx="3581400" cy="1920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8DCA1CD3-85CC-48BF-8732-D29681844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4925" y="360000"/>
            <a:ext cx="366713" cy="192091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79066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920C9E9-565A-40CC-A639-A3314CDBE8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388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920C9E9-565A-40CC-A639-A3314CDBE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572" y="2717321"/>
            <a:ext cx="5734049" cy="3780679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82000" y="720000"/>
            <a:ext cx="5547600" cy="5418000"/>
          </a:xfrm>
          <a:solidFill>
            <a:schemeClr val="bg1">
              <a:lumMod val="85000"/>
            </a:schemeClr>
          </a:solidFill>
        </p:spPr>
        <p:txBody>
          <a:bodyPr tIns="648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8C64C1-3630-44AF-9E91-3A358852FD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24000" y="4564800"/>
            <a:ext cx="1972800" cy="1274400"/>
          </a:xfrm>
        </p:spPr>
        <p:txBody>
          <a:bodyPr anchor="b" anchorCtr="0"/>
          <a:lstStyle>
            <a:lvl1pPr marL="0" indent="0" defTabSz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1BA84E4-098F-45A1-90DD-5D95A9A7E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50" y="674862"/>
            <a:ext cx="5734050" cy="1024542"/>
          </a:xfrm>
          <a:prstGeom prst="rect">
            <a:avLst/>
          </a:prstGeo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3FA3152-8077-4674-925C-8E7BA248C2F7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359118" y="1992231"/>
            <a:ext cx="5734050" cy="501552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3D0A8EE6-95C6-4ABD-A523-635B49D474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18738" y="360000"/>
            <a:ext cx="1244624" cy="192091"/>
          </a:xfrm>
          <a:prstGeom prst="rect">
            <a:avLst/>
          </a:prstGeom>
        </p:spPr>
        <p:txBody>
          <a:bodyPr/>
          <a:lstStyle/>
          <a:p>
            <a:fld id="{77716C50-9109-4F8E-BA6C-292F5F15BEBC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18BD1BD0-DF38-4520-8BC2-656D7FA8D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1950" y="360000"/>
            <a:ext cx="3581400" cy="1920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DE27FE6B-E2ED-4332-8357-874EA0787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4925" y="360000"/>
            <a:ext cx="366713" cy="192091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3490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A59914E-6CC7-4A80-9A35-C206A44D570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15D2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75" name="Graphic 74">
            <a:extLst>
              <a:ext uri="{FF2B5EF4-FFF2-40B4-BE49-F238E27FC236}">
                <a16:creationId xmlns:a16="http://schemas.microsoft.com/office/drawing/2014/main" id="{6FE61226-2F3F-4AD4-BBCB-C943FC12D1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2556" r="59168"/>
          <a:stretch>
            <a:fillRect/>
          </a:stretch>
        </p:blipFill>
        <p:spPr>
          <a:xfrm>
            <a:off x="4051364" y="-1687"/>
            <a:ext cx="8140636" cy="3477735"/>
          </a:xfrm>
          <a:custGeom>
            <a:avLst/>
            <a:gdLst>
              <a:gd name="connsiteX0" fmla="*/ 0 w 8140636"/>
              <a:gd name="connsiteY0" fmla="*/ 0 h 3477735"/>
              <a:gd name="connsiteX1" fmla="*/ 8140636 w 8140636"/>
              <a:gd name="connsiteY1" fmla="*/ 0 h 3477735"/>
              <a:gd name="connsiteX2" fmla="*/ 8140636 w 8140636"/>
              <a:gd name="connsiteY2" fmla="*/ 3477735 h 3477735"/>
              <a:gd name="connsiteX3" fmla="*/ 0 w 8140636"/>
              <a:gd name="connsiteY3" fmla="*/ 3477735 h 347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0636" h="3477735">
                <a:moveTo>
                  <a:pt x="0" y="0"/>
                </a:moveTo>
                <a:lnTo>
                  <a:pt x="8140636" y="0"/>
                </a:lnTo>
                <a:lnTo>
                  <a:pt x="8140636" y="3477735"/>
                </a:lnTo>
                <a:lnTo>
                  <a:pt x="0" y="3477735"/>
                </a:lnTo>
                <a:close/>
              </a:path>
            </a:pathLst>
          </a:cu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044D3FB9-21B1-47E8-AA99-7CA170CF5C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00863" y="2160000"/>
            <a:ext cx="3944937" cy="3978000"/>
          </a:xfrm>
          <a:prstGeom prst="rect">
            <a:avLst/>
          </a:prstGeo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4A7DEC4-FBAD-4253-83A1-CE1A4F04DB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6112800" cy="6858000"/>
          </a:xfrm>
          <a:solidFill>
            <a:schemeClr val="bg1">
              <a:lumMod val="85000"/>
            </a:schemeClr>
          </a:solidFill>
        </p:spPr>
        <p:txBody>
          <a:bodyPr tIns="648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Click to add pictu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09FF430-0C3E-44D6-AAE3-F9B2196ADD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4068000"/>
            <a:ext cx="2283650" cy="2070000"/>
          </a:xfrm>
        </p:spPr>
        <p:txBody>
          <a:bodyPr anchor="t" anchorCtr="0"/>
          <a:lstStyle>
            <a:lvl1pPr marL="0" indent="0" defTabSz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2B0324C-A039-4DA9-A64C-21861C576F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64A3F6-59B9-4C73-BD12-3073B2060868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1361D7-EFEF-4D5A-A85B-569EBF46AC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3C5BE49-EFEB-4248-8EEA-4E4B153269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3149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A59914E-6CC7-4A80-9A35-C206A44D570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15D2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31A04A1-8548-4A7B-B341-80F66C792E53}"/>
              </a:ext>
            </a:extLst>
          </p:cNvPr>
          <p:cNvSpPr/>
          <p:nvPr userDrawn="1"/>
        </p:nvSpPr>
        <p:spPr>
          <a:xfrm>
            <a:off x="10668000" y="6138000"/>
            <a:ext cx="1356360" cy="5523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60B7E665-2F43-4D25-B804-B0DB41F728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3899" t="14064" b="54157"/>
          <a:stretch>
            <a:fillRect/>
          </a:stretch>
        </p:blipFill>
        <p:spPr>
          <a:xfrm>
            <a:off x="0" y="-2"/>
            <a:ext cx="3474720" cy="6858004"/>
          </a:xfrm>
          <a:custGeom>
            <a:avLst/>
            <a:gdLst>
              <a:gd name="connsiteX0" fmla="*/ 0 w 3474720"/>
              <a:gd name="connsiteY0" fmla="*/ 0 h 6858004"/>
              <a:gd name="connsiteX1" fmla="*/ 3474720 w 3474720"/>
              <a:gd name="connsiteY1" fmla="*/ 0 h 6858004"/>
              <a:gd name="connsiteX2" fmla="*/ 3474720 w 3474720"/>
              <a:gd name="connsiteY2" fmla="*/ 6858004 h 6858004"/>
              <a:gd name="connsiteX3" fmla="*/ 0 w 3474720"/>
              <a:gd name="connsiteY3" fmla="*/ 6858004 h 685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74720" h="6858004">
                <a:moveTo>
                  <a:pt x="0" y="0"/>
                </a:moveTo>
                <a:lnTo>
                  <a:pt x="3474720" y="0"/>
                </a:lnTo>
                <a:lnTo>
                  <a:pt x="3474720" y="6858004"/>
                </a:lnTo>
                <a:lnTo>
                  <a:pt x="0" y="6858004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46400" y="2160000"/>
            <a:ext cx="4388400" cy="3978000"/>
          </a:xfrm>
          <a:prstGeom prst="rect">
            <a:avLst/>
          </a:prstGeom>
        </p:spPr>
        <p:txBody>
          <a:bodyPr/>
          <a:lstStyle>
            <a:lvl1pPr>
              <a:defRPr sz="96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205F5899-C36A-46B8-95DD-02C5C6D172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9200" y="0"/>
            <a:ext cx="6112800" cy="6858000"/>
          </a:xfrm>
          <a:custGeom>
            <a:avLst/>
            <a:gdLst>
              <a:gd name="connsiteX0" fmla="*/ 5508050 w 6112800"/>
              <a:gd name="connsiteY0" fmla="*/ 6372860 h 6858000"/>
              <a:gd name="connsiteX1" fmla="*/ 5543124 w 6112800"/>
              <a:gd name="connsiteY1" fmla="*/ 6406554 h 6858000"/>
              <a:gd name="connsiteX2" fmla="*/ 5471596 w 6112800"/>
              <a:gd name="connsiteY2" fmla="*/ 6406554 h 6858000"/>
              <a:gd name="connsiteX3" fmla="*/ 5508050 w 6112800"/>
              <a:gd name="connsiteY3" fmla="*/ 6372860 h 6858000"/>
              <a:gd name="connsiteX4" fmla="*/ 5153177 w 6112800"/>
              <a:gd name="connsiteY4" fmla="*/ 6372860 h 6858000"/>
              <a:gd name="connsiteX5" fmla="*/ 5188251 w 6112800"/>
              <a:gd name="connsiteY5" fmla="*/ 6406554 h 6858000"/>
              <a:gd name="connsiteX6" fmla="*/ 5116726 w 6112800"/>
              <a:gd name="connsiteY6" fmla="*/ 6406554 h 6858000"/>
              <a:gd name="connsiteX7" fmla="*/ 5153177 w 6112800"/>
              <a:gd name="connsiteY7" fmla="*/ 6372860 h 6858000"/>
              <a:gd name="connsiteX8" fmla="*/ 5659383 w 6112800"/>
              <a:gd name="connsiteY8" fmla="*/ 6345815 h 6858000"/>
              <a:gd name="connsiteX9" fmla="*/ 5588960 w 6112800"/>
              <a:gd name="connsiteY9" fmla="*/ 6422586 h 6858000"/>
              <a:gd name="connsiteX10" fmla="*/ 5658278 w 6112800"/>
              <a:gd name="connsiteY10" fmla="*/ 6496321 h 6858000"/>
              <a:gd name="connsiteX11" fmla="*/ 5658285 w 6112800"/>
              <a:gd name="connsiteY11" fmla="*/ 6496311 h 6858000"/>
              <a:gd name="connsiteX12" fmla="*/ 5722077 w 6112800"/>
              <a:gd name="connsiteY12" fmla="*/ 6444671 h 6858000"/>
              <a:gd name="connsiteX13" fmla="*/ 5691159 w 6112800"/>
              <a:gd name="connsiteY13" fmla="*/ 6444671 h 6858000"/>
              <a:gd name="connsiteX14" fmla="*/ 5658295 w 6112800"/>
              <a:gd name="connsiteY14" fmla="*/ 6469252 h 6858000"/>
              <a:gd name="connsiteX15" fmla="*/ 5621565 w 6112800"/>
              <a:gd name="connsiteY15" fmla="*/ 6422579 h 6858000"/>
              <a:gd name="connsiteX16" fmla="*/ 5659675 w 6112800"/>
              <a:gd name="connsiteY16" fmla="*/ 6372867 h 6858000"/>
              <a:gd name="connsiteX17" fmla="*/ 5690054 w 6112800"/>
              <a:gd name="connsiteY17" fmla="*/ 6400209 h 6858000"/>
              <a:gd name="connsiteX18" fmla="*/ 5722070 w 6112800"/>
              <a:gd name="connsiteY18" fmla="*/ 6400209 h 6858000"/>
              <a:gd name="connsiteX19" fmla="*/ 5659383 w 6112800"/>
              <a:gd name="connsiteY19" fmla="*/ 6345815 h 6858000"/>
              <a:gd name="connsiteX20" fmla="*/ 5508312 w 6112800"/>
              <a:gd name="connsiteY20" fmla="*/ 6345804 h 6858000"/>
              <a:gd name="connsiteX21" fmla="*/ 5438997 w 6112800"/>
              <a:gd name="connsiteY21" fmla="*/ 6421199 h 6858000"/>
              <a:gd name="connsiteX22" fmla="*/ 5508883 w 6112800"/>
              <a:gd name="connsiteY22" fmla="*/ 6496314 h 6858000"/>
              <a:gd name="connsiteX23" fmla="*/ 5508866 w 6112800"/>
              <a:gd name="connsiteY23" fmla="*/ 6496321 h 6858000"/>
              <a:gd name="connsiteX24" fmla="*/ 5573488 w 6112800"/>
              <a:gd name="connsiteY24" fmla="*/ 6448812 h 6858000"/>
              <a:gd name="connsiteX25" fmla="*/ 5542556 w 6112800"/>
              <a:gd name="connsiteY25" fmla="*/ 6448812 h 6858000"/>
              <a:gd name="connsiteX26" fmla="*/ 5508866 w 6112800"/>
              <a:gd name="connsiteY26" fmla="*/ 6469252 h 6858000"/>
              <a:gd name="connsiteX27" fmla="*/ 5471582 w 6112800"/>
              <a:gd name="connsiteY27" fmla="*/ 6429206 h 6858000"/>
              <a:gd name="connsiteX28" fmla="*/ 5575420 w 6112800"/>
              <a:gd name="connsiteY28" fmla="*/ 6429206 h 6858000"/>
              <a:gd name="connsiteX29" fmla="*/ 5508312 w 6112800"/>
              <a:gd name="connsiteY29" fmla="*/ 6345804 h 6858000"/>
              <a:gd name="connsiteX30" fmla="*/ 5153456 w 6112800"/>
              <a:gd name="connsiteY30" fmla="*/ 6345794 h 6858000"/>
              <a:gd name="connsiteX31" fmla="*/ 5084138 w 6112800"/>
              <a:gd name="connsiteY31" fmla="*/ 6421188 h 6858000"/>
              <a:gd name="connsiteX32" fmla="*/ 5154006 w 6112800"/>
              <a:gd name="connsiteY32" fmla="*/ 6496311 h 6858000"/>
              <a:gd name="connsiteX33" fmla="*/ 5218629 w 6112800"/>
              <a:gd name="connsiteY33" fmla="*/ 6448802 h 6858000"/>
              <a:gd name="connsiteX34" fmla="*/ 5187700 w 6112800"/>
              <a:gd name="connsiteY34" fmla="*/ 6448802 h 6858000"/>
              <a:gd name="connsiteX35" fmla="*/ 5154006 w 6112800"/>
              <a:gd name="connsiteY35" fmla="*/ 6469241 h 6858000"/>
              <a:gd name="connsiteX36" fmla="*/ 5116726 w 6112800"/>
              <a:gd name="connsiteY36" fmla="*/ 6429196 h 6858000"/>
              <a:gd name="connsiteX37" fmla="*/ 5220563 w 6112800"/>
              <a:gd name="connsiteY37" fmla="*/ 6429196 h 6858000"/>
              <a:gd name="connsiteX38" fmla="*/ 5153456 w 6112800"/>
              <a:gd name="connsiteY38" fmla="*/ 6345794 h 6858000"/>
              <a:gd name="connsiteX39" fmla="*/ 5725792 w 6112800"/>
              <a:gd name="connsiteY39" fmla="*/ 6308754 h 6858000"/>
              <a:gd name="connsiteX40" fmla="*/ 5732970 w 6112800"/>
              <a:gd name="connsiteY40" fmla="*/ 6308754 h 6858000"/>
              <a:gd name="connsiteX41" fmla="*/ 5736836 w 6112800"/>
              <a:gd name="connsiteY41" fmla="*/ 6312345 h 6858000"/>
              <a:gd name="connsiteX42" fmla="*/ 5732970 w 6112800"/>
              <a:gd name="connsiteY42" fmla="*/ 6315660 h 6858000"/>
              <a:gd name="connsiteX43" fmla="*/ 5725792 w 6112800"/>
              <a:gd name="connsiteY43" fmla="*/ 6315660 h 6858000"/>
              <a:gd name="connsiteX44" fmla="*/ 5372464 w 6112800"/>
              <a:gd name="connsiteY44" fmla="*/ 6306857 h 6858000"/>
              <a:gd name="connsiteX45" fmla="*/ 5372464 w 6112800"/>
              <a:gd name="connsiteY45" fmla="*/ 6349653 h 6858000"/>
              <a:gd name="connsiteX46" fmla="*/ 5350923 w 6112800"/>
              <a:gd name="connsiteY46" fmla="*/ 6349653 h 6858000"/>
              <a:gd name="connsiteX47" fmla="*/ 5350923 w 6112800"/>
              <a:gd name="connsiteY47" fmla="*/ 6373129 h 6858000"/>
              <a:gd name="connsiteX48" fmla="*/ 5372464 w 6112800"/>
              <a:gd name="connsiteY48" fmla="*/ 6373129 h 6858000"/>
              <a:gd name="connsiteX49" fmla="*/ 5372464 w 6112800"/>
              <a:gd name="connsiteY49" fmla="*/ 6453226 h 6858000"/>
              <a:gd name="connsiteX50" fmla="*/ 5412509 w 6112800"/>
              <a:gd name="connsiteY50" fmla="*/ 6494097 h 6858000"/>
              <a:gd name="connsiteX51" fmla="*/ 5431286 w 6112800"/>
              <a:gd name="connsiteY51" fmla="*/ 6492441 h 6858000"/>
              <a:gd name="connsiteX52" fmla="*/ 5431286 w 6112800"/>
              <a:gd name="connsiteY52" fmla="*/ 6468140 h 6858000"/>
              <a:gd name="connsiteX53" fmla="*/ 5418031 w 6112800"/>
              <a:gd name="connsiteY53" fmla="*/ 6469245 h 6858000"/>
              <a:gd name="connsiteX54" fmla="*/ 5402842 w 6112800"/>
              <a:gd name="connsiteY54" fmla="*/ 6453226 h 6858000"/>
              <a:gd name="connsiteX55" fmla="*/ 5402842 w 6112800"/>
              <a:gd name="connsiteY55" fmla="*/ 6373139 h 6858000"/>
              <a:gd name="connsiteX56" fmla="*/ 5431286 w 6112800"/>
              <a:gd name="connsiteY56" fmla="*/ 6373139 h 6858000"/>
              <a:gd name="connsiteX57" fmla="*/ 5431286 w 6112800"/>
              <a:gd name="connsiteY57" fmla="*/ 6349653 h 6858000"/>
              <a:gd name="connsiteX58" fmla="*/ 5402842 w 6112800"/>
              <a:gd name="connsiteY58" fmla="*/ 6349653 h 6858000"/>
              <a:gd name="connsiteX59" fmla="*/ 5402842 w 6112800"/>
              <a:gd name="connsiteY59" fmla="*/ 6306857 h 6858000"/>
              <a:gd name="connsiteX60" fmla="*/ 5721936 w 6112800"/>
              <a:gd name="connsiteY60" fmla="*/ 6305439 h 6858000"/>
              <a:gd name="connsiteX61" fmla="*/ 5721936 w 6112800"/>
              <a:gd name="connsiteY61" fmla="*/ 6328915 h 6858000"/>
              <a:gd name="connsiteX62" fmla="*/ 5725802 w 6112800"/>
              <a:gd name="connsiteY62" fmla="*/ 6328915 h 6858000"/>
              <a:gd name="connsiteX63" fmla="*/ 5725802 w 6112800"/>
              <a:gd name="connsiteY63" fmla="*/ 6318972 h 6858000"/>
              <a:gd name="connsiteX64" fmla="*/ 5731600 w 6112800"/>
              <a:gd name="connsiteY64" fmla="*/ 6318972 h 6858000"/>
              <a:gd name="connsiteX65" fmla="*/ 5736846 w 6112800"/>
              <a:gd name="connsiteY65" fmla="*/ 6323668 h 6858000"/>
              <a:gd name="connsiteX66" fmla="*/ 5737125 w 6112800"/>
              <a:gd name="connsiteY66" fmla="*/ 6328915 h 6858000"/>
              <a:gd name="connsiteX67" fmla="*/ 5740991 w 6112800"/>
              <a:gd name="connsiteY67" fmla="*/ 6328915 h 6858000"/>
              <a:gd name="connsiteX68" fmla="*/ 5740437 w 6112800"/>
              <a:gd name="connsiteY68" fmla="*/ 6322287 h 6858000"/>
              <a:gd name="connsiteX69" fmla="*/ 5737125 w 6112800"/>
              <a:gd name="connsiteY69" fmla="*/ 6317592 h 6858000"/>
              <a:gd name="connsiteX70" fmla="*/ 5740712 w 6112800"/>
              <a:gd name="connsiteY70" fmla="*/ 6311794 h 6858000"/>
              <a:gd name="connsiteX71" fmla="*/ 5732980 w 6112800"/>
              <a:gd name="connsiteY71" fmla="*/ 6305439 h 6858000"/>
              <a:gd name="connsiteX72" fmla="*/ 5730649 w 6112800"/>
              <a:gd name="connsiteY72" fmla="*/ 6299125 h 6858000"/>
              <a:gd name="connsiteX73" fmla="*/ 5748599 w 6112800"/>
              <a:gd name="connsiteY73" fmla="*/ 6317075 h 6858000"/>
              <a:gd name="connsiteX74" fmla="*/ 5730649 w 6112800"/>
              <a:gd name="connsiteY74" fmla="*/ 6335025 h 6858000"/>
              <a:gd name="connsiteX75" fmla="*/ 5712699 w 6112800"/>
              <a:gd name="connsiteY75" fmla="*/ 6317075 h 6858000"/>
              <a:gd name="connsiteX76" fmla="*/ 5730649 w 6112800"/>
              <a:gd name="connsiteY76" fmla="*/ 6299125 h 6858000"/>
              <a:gd name="connsiteX77" fmla="*/ 5730639 w 6112800"/>
              <a:gd name="connsiteY77" fmla="*/ 6295259 h 6858000"/>
              <a:gd name="connsiteX78" fmla="*/ 5708823 w 6112800"/>
              <a:gd name="connsiteY78" fmla="*/ 6317075 h 6858000"/>
              <a:gd name="connsiteX79" fmla="*/ 5730639 w 6112800"/>
              <a:gd name="connsiteY79" fmla="*/ 6338895 h 6858000"/>
              <a:gd name="connsiteX80" fmla="*/ 5730649 w 6112800"/>
              <a:gd name="connsiteY80" fmla="*/ 6338895 h 6858000"/>
              <a:gd name="connsiteX81" fmla="*/ 5752466 w 6112800"/>
              <a:gd name="connsiteY81" fmla="*/ 6317075 h 6858000"/>
              <a:gd name="connsiteX82" fmla="*/ 5730639 w 6112800"/>
              <a:gd name="connsiteY82" fmla="*/ 6295259 h 6858000"/>
              <a:gd name="connsiteX83" fmla="*/ 5305071 w 6112800"/>
              <a:gd name="connsiteY83" fmla="*/ 6295259 h 6858000"/>
              <a:gd name="connsiteX84" fmla="*/ 5305071 w 6112800"/>
              <a:gd name="connsiteY84" fmla="*/ 6492992 h 6858000"/>
              <a:gd name="connsiteX85" fmla="*/ 5336829 w 6112800"/>
              <a:gd name="connsiteY85" fmla="*/ 6492992 h 6858000"/>
              <a:gd name="connsiteX86" fmla="*/ 5336829 w 6112800"/>
              <a:gd name="connsiteY86" fmla="*/ 6295259 h 6858000"/>
              <a:gd name="connsiteX87" fmla="*/ 5242655 w 6112800"/>
              <a:gd name="connsiteY87" fmla="*/ 6295259 h 6858000"/>
              <a:gd name="connsiteX88" fmla="*/ 5242655 w 6112800"/>
              <a:gd name="connsiteY88" fmla="*/ 6492992 h 6858000"/>
              <a:gd name="connsiteX89" fmla="*/ 5274138 w 6112800"/>
              <a:gd name="connsiteY89" fmla="*/ 6492992 h 6858000"/>
              <a:gd name="connsiteX90" fmla="*/ 5274138 w 6112800"/>
              <a:gd name="connsiteY90" fmla="*/ 6295259 h 6858000"/>
              <a:gd name="connsiteX91" fmla="*/ 4835312 w 6112800"/>
              <a:gd name="connsiteY91" fmla="*/ 6295259 h 6858000"/>
              <a:gd name="connsiteX92" fmla="*/ 4885850 w 6112800"/>
              <a:gd name="connsiteY92" fmla="*/ 6492441 h 6858000"/>
              <a:gd name="connsiteX93" fmla="*/ 4925617 w 6112800"/>
              <a:gd name="connsiteY93" fmla="*/ 6492441 h 6858000"/>
              <a:gd name="connsiteX94" fmla="*/ 4962625 w 6112800"/>
              <a:gd name="connsiteY94" fmla="*/ 6338898 h 6858000"/>
              <a:gd name="connsiteX95" fmla="*/ 4963176 w 6112800"/>
              <a:gd name="connsiteY95" fmla="*/ 6338898 h 6858000"/>
              <a:gd name="connsiteX96" fmla="*/ 5000181 w 6112800"/>
              <a:gd name="connsiteY96" fmla="*/ 6492441 h 6858000"/>
              <a:gd name="connsiteX97" fmla="*/ 5038295 w 6112800"/>
              <a:gd name="connsiteY97" fmla="*/ 6492441 h 6858000"/>
              <a:gd name="connsiteX98" fmla="*/ 5088833 w 6112800"/>
              <a:gd name="connsiteY98" fmla="*/ 6295259 h 6858000"/>
              <a:gd name="connsiteX99" fmla="*/ 5054875 w 6112800"/>
              <a:gd name="connsiteY99" fmla="*/ 6295259 h 6858000"/>
              <a:gd name="connsiteX100" fmla="*/ 5020620 w 6112800"/>
              <a:gd name="connsiteY100" fmla="*/ 6447425 h 6858000"/>
              <a:gd name="connsiteX101" fmla="*/ 5020066 w 6112800"/>
              <a:gd name="connsiteY101" fmla="*/ 6447425 h 6858000"/>
              <a:gd name="connsiteX102" fmla="*/ 4984982 w 6112800"/>
              <a:gd name="connsiteY102" fmla="*/ 6295259 h 6858000"/>
              <a:gd name="connsiteX103" fmla="*/ 4941370 w 6112800"/>
              <a:gd name="connsiteY103" fmla="*/ 6295259 h 6858000"/>
              <a:gd name="connsiteX104" fmla="*/ 4906286 w 6112800"/>
              <a:gd name="connsiteY104" fmla="*/ 6447425 h 6858000"/>
              <a:gd name="connsiteX105" fmla="*/ 4905735 w 6112800"/>
              <a:gd name="connsiteY105" fmla="*/ 6447425 h 6858000"/>
              <a:gd name="connsiteX106" fmla="*/ 4871481 w 6112800"/>
              <a:gd name="connsiteY106" fmla="*/ 6295259 h 6858000"/>
              <a:gd name="connsiteX107" fmla="*/ 0 w 6112800"/>
              <a:gd name="connsiteY107" fmla="*/ 0 h 6858000"/>
              <a:gd name="connsiteX108" fmla="*/ 6112800 w 6112800"/>
              <a:gd name="connsiteY108" fmla="*/ 0 h 6858000"/>
              <a:gd name="connsiteX109" fmla="*/ 6112800 w 6112800"/>
              <a:gd name="connsiteY109" fmla="*/ 6858000 h 6858000"/>
              <a:gd name="connsiteX110" fmla="*/ 0 w 6112800"/>
              <a:gd name="connsiteY1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6112800" h="6858000">
                <a:moveTo>
                  <a:pt x="5508050" y="6372860"/>
                </a:moveTo>
                <a:cubicBezTo>
                  <a:pt x="5529591" y="6372860"/>
                  <a:pt x="5541747" y="6388604"/>
                  <a:pt x="5543124" y="6406554"/>
                </a:cubicBezTo>
                <a:lnTo>
                  <a:pt x="5471596" y="6406554"/>
                </a:lnTo>
                <a:cubicBezTo>
                  <a:pt x="5474081" y="6389154"/>
                  <a:pt x="5486509" y="6372860"/>
                  <a:pt x="5508050" y="6372860"/>
                </a:cubicBezTo>
                <a:close/>
                <a:moveTo>
                  <a:pt x="5153177" y="6372860"/>
                </a:moveTo>
                <a:cubicBezTo>
                  <a:pt x="5174717" y="6372860"/>
                  <a:pt x="5186870" y="6388604"/>
                  <a:pt x="5188251" y="6406554"/>
                </a:cubicBezTo>
                <a:lnTo>
                  <a:pt x="5116726" y="6406554"/>
                </a:lnTo>
                <a:cubicBezTo>
                  <a:pt x="5119211" y="6389154"/>
                  <a:pt x="5131636" y="6372860"/>
                  <a:pt x="5153177" y="6372860"/>
                </a:cubicBezTo>
                <a:close/>
                <a:moveTo>
                  <a:pt x="5659383" y="6345815"/>
                </a:moveTo>
                <a:cubicBezTo>
                  <a:pt x="5612435" y="6345815"/>
                  <a:pt x="5588960" y="6379508"/>
                  <a:pt x="5588960" y="6422586"/>
                </a:cubicBezTo>
                <a:cubicBezTo>
                  <a:pt x="5588960" y="6464563"/>
                  <a:pt x="5613540" y="6496321"/>
                  <a:pt x="5658278" y="6496321"/>
                </a:cubicBezTo>
                <a:lnTo>
                  <a:pt x="5658285" y="6496311"/>
                </a:lnTo>
                <a:cubicBezTo>
                  <a:pt x="5691978" y="6496311"/>
                  <a:pt x="5715433" y="6478361"/>
                  <a:pt x="5722077" y="6444671"/>
                </a:cubicBezTo>
                <a:lnTo>
                  <a:pt x="5691159" y="6444671"/>
                </a:lnTo>
                <a:cubicBezTo>
                  <a:pt x="5687843" y="6460414"/>
                  <a:pt x="5678455" y="6469252"/>
                  <a:pt x="5658295" y="6469252"/>
                </a:cubicBezTo>
                <a:cubicBezTo>
                  <a:pt x="5631786" y="6469252"/>
                  <a:pt x="5621565" y="6446330"/>
                  <a:pt x="5621565" y="6422579"/>
                </a:cubicBezTo>
                <a:cubicBezTo>
                  <a:pt x="5621565" y="6379498"/>
                  <a:pt x="5644211" y="6372867"/>
                  <a:pt x="5659675" y="6372867"/>
                </a:cubicBezTo>
                <a:cubicBezTo>
                  <a:pt x="5675419" y="6372867"/>
                  <a:pt x="5687561" y="6382534"/>
                  <a:pt x="5690054" y="6400209"/>
                </a:cubicBezTo>
                <a:lnTo>
                  <a:pt x="5722070" y="6400209"/>
                </a:lnTo>
                <a:cubicBezTo>
                  <a:pt x="5719034" y="6365135"/>
                  <a:pt x="5690866" y="6345815"/>
                  <a:pt x="5659383" y="6345815"/>
                </a:cubicBezTo>
                <a:close/>
                <a:moveTo>
                  <a:pt x="5508312" y="6345804"/>
                </a:moveTo>
                <a:cubicBezTo>
                  <a:pt x="5465785" y="6345804"/>
                  <a:pt x="5438997" y="6380603"/>
                  <a:pt x="5438997" y="6421199"/>
                </a:cubicBezTo>
                <a:cubicBezTo>
                  <a:pt x="5438997" y="6465385"/>
                  <a:pt x="5463850" y="6496314"/>
                  <a:pt x="5508883" y="6496314"/>
                </a:cubicBezTo>
                <a:lnTo>
                  <a:pt x="5508866" y="6496321"/>
                </a:lnTo>
                <a:cubicBezTo>
                  <a:pt x="5539795" y="6496321"/>
                  <a:pt x="5566861" y="6478922"/>
                  <a:pt x="5573488" y="6448812"/>
                </a:cubicBezTo>
                <a:lnTo>
                  <a:pt x="5542556" y="6448812"/>
                </a:lnTo>
                <a:cubicBezTo>
                  <a:pt x="5537864" y="6462900"/>
                  <a:pt x="5527092" y="6469252"/>
                  <a:pt x="5508866" y="6469252"/>
                </a:cubicBezTo>
                <a:cubicBezTo>
                  <a:pt x="5483459" y="6469252"/>
                  <a:pt x="5472136" y="6449367"/>
                  <a:pt x="5471582" y="6429206"/>
                </a:cubicBezTo>
                <a:lnTo>
                  <a:pt x="5575420" y="6429206"/>
                </a:lnTo>
                <a:cubicBezTo>
                  <a:pt x="5579010" y="6385295"/>
                  <a:pt x="5553879" y="6345804"/>
                  <a:pt x="5508312" y="6345804"/>
                </a:cubicBezTo>
                <a:close/>
                <a:moveTo>
                  <a:pt x="5153456" y="6345794"/>
                </a:moveTo>
                <a:cubicBezTo>
                  <a:pt x="5110925" y="6345794"/>
                  <a:pt x="5084138" y="6380592"/>
                  <a:pt x="5084138" y="6421188"/>
                </a:cubicBezTo>
                <a:cubicBezTo>
                  <a:pt x="5084138" y="6465379"/>
                  <a:pt x="5109004" y="6496311"/>
                  <a:pt x="5154006" y="6496311"/>
                </a:cubicBezTo>
                <a:cubicBezTo>
                  <a:pt x="5184939" y="6496311"/>
                  <a:pt x="5212002" y="6478912"/>
                  <a:pt x="5218629" y="6448802"/>
                </a:cubicBezTo>
                <a:lnTo>
                  <a:pt x="5187700" y="6448802"/>
                </a:lnTo>
                <a:cubicBezTo>
                  <a:pt x="5183004" y="6462890"/>
                  <a:pt x="5172235" y="6469241"/>
                  <a:pt x="5154006" y="6469241"/>
                </a:cubicBezTo>
                <a:cubicBezTo>
                  <a:pt x="5128600" y="6469241"/>
                  <a:pt x="5117277" y="6449356"/>
                  <a:pt x="5116726" y="6429196"/>
                </a:cubicBezTo>
                <a:lnTo>
                  <a:pt x="5220563" y="6429196"/>
                </a:lnTo>
                <a:cubicBezTo>
                  <a:pt x="5224154" y="6385285"/>
                  <a:pt x="5199023" y="6345794"/>
                  <a:pt x="5153456" y="6345794"/>
                </a:cubicBezTo>
                <a:close/>
                <a:moveTo>
                  <a:pt x="5725792" y="6308754"/>
                </a:moveTo>
                <a:lnTo>
                  <a:pt x="5732970" y="6308754"/>
                </a:lnTo>
                <a:cubicBezTo>
                  <a:pt x="5734905" y="6308754"/>
                  <a:pt x="5736836" y="6309309"/>
                  <a:pt x="5736836" y="6312345"/>
                </a:cubicBezTo>
                <a:cubicBezTo>
                  <a:pt x="5736836" y="6314555"/>
                  <a:pt x="5735180" y="6315660"/>
                  <a:pt x="5732970" y="6315660"/>
                </a:cubicBezTo>
                <a:lnTo>
                  <a:pt x="5725792" y="6315660"/>
                </a:lnTo>
                <a:close/>
                <a:moveTo>
                  <a:pt x="5372464" y="6306857"/>
                </a:moveTo>
                <a:lnTo>
                  <a:pt x="5372464" y="6349653"/>
                </a:lnTo>
                <a:lnTo>
                  <a:pt x="5350923" y="6349653"/>
                </a:lnTo>
                <a:lnTo>
                  <a:pt x="5350923" y="6373129"/>
                </a:lnTo>
                <a:lnTo>
                  <a:pt x="5372464" y="6373129"/>
                </a:lnTo>
                <a:lnTo>
                  <a:pt x="5372464" y="6453226"/>
                </a:lnTo>
                <a:cubicBezTo>
                  <a:pt x="5372464" y="6479735"/>
                  <a:pt x="5383233" y="6494097"/>
                  <a:pt x="5412509" y="6494097"/>
                </a:cubicBezTo>
                <a:cubicBezTo>
                  <a:pt x="5418582" y="6494097"/>
                  <a:pt x="5426039" y="6493271"/>
                  <a:pt x="5431286" y="6492441"/>
                </a:cubicBezTo>
                <a:lnTo>
                  <a:pt x="5431286" y="6468140"/>
                </a:lnTo>
                <a:cubicBezTo>
                  <a:pt x="5428531" y="6468690"/>
                  <a:pt x="5422448" y="6469245"/>
                  <a:pt x="5418031" y="6469245"/>
                </a:cubicBezTo>
                <a:cubicBezTo>
                  <a:pt x="5406984" y="6469245"/>
                  <a:pt x="5402842" y="6464824"/>
                  <a:pt x="5402842" y="6453226"/>
                </a:cubicBezTo>
                <a:lnTo>
                  <a:pt x="5402842" y="6373139"/>
                </a:lnTo>
                <a:lnTo>
                  <a:pt x="5431286" y="6373139"/>
                </a:lnTo>
                <a:lnTo>
                  <a:pt x="5431286" y="6349653"/>
                </a:lnTo>
                <a:lnTo>
                  <a:pt x="5402842" y="6349653"/>
                </a:lnTo>
                <a:lnTo>
                  <a:pt x="5402842" y="6306857"/>
                </a:lnTo>
                <a:close/>
                <a:moveTo>
                  <a:pt x="5721936" y="6305439"/>
                </a:moveTo>
                <a:lnTo>
                  <a:pt x="5721936" y="6328915"/>
                </a:lnTo>
                <a:lnTo>
                  <a:pt x="5725802" y="6328915"/>
                </a:lnTo>
                <a:lnTo>
                  <a:pt x="5725802" y="6318972"/>
                </a:lnTo>
                <a:lnTo>
                  <a:pt x="5731600" y="6318972"/>
                </a:lnTo>
                <a:cubicBezTo>
                  <a:pt x="5735190" y="6318972"/>
                  <a:pt x="5736846" y="6320628"/>
                  <a:pt x="5736846" y="6323668"/>
                </a:cubicBezTo>
                <a:cubicBezTo>
                  <a:pt x="5736846" y="6325878"/>
                  <a:pt x="5736846" y="6327534"/>
                  <a:pt x="5737125" y="6328915"/>
                </a:cubicBezTo>
                <a:lnTo>
                  <a:pt x="5740991" y="6328915"/>
                </a:lnTo>
                <a:cubicBezTo>
                  <a:pt x="5740437" y="6326429"/>
                  <a:pt x="5740437" y="6324498"/>
                  <a:pt x="5740437" y="6322287"/>
                </a:cubicBezTo>
                <a:cubicBezTo>
                  <a:pt x="5740437" y="6318972"/>
                  <a:pt x="5738506" y="6317867"/>
                  <a:pt x="5737125" y="6317592"/>
                </a:cubicBezTo>
                <a:cubicBezTo>
                  <a:pt x="5738227" y="6317316"/>
                  <a:pt x="5740712" y="6315936"/>
                  <a:pt x="5740712" y="6311794"/>
                </a:cubicBezTo>
                <a:cubicBezTo>
                  <a:pt x="5740712" y="6308203"/>
                  <a:pt x="5738506" y="6305439"/>
                  <a:pt x="5732980" y="6305439"/>
                </a:cubicBezTo>
                <a:close/>
                <a:moveTo>
                  <a:pt x="5730649" y="6299125"/>
                </a:moveTo>
                <a:cubicBezTo>
                  <a:pt x="5741143" y="6299125"/>
                  <a:pt x="5748599" y="6306582"/>
                  <a:pt x="5748599" y="6317075"/>
                </a:cubicBezTo>
                <a:cubicBezTo>
                  <a:pt x="5748599" y="6327568"/>
                  <a:pt x="5741146" y="6335025"/>
                  <a:pt x="5730649" y="6335025"/>
                </a:cubicBezTo>
                <a:cubicBezTo>
                  <a:pt x="5720156" y="6335025"/>
                  <a:pt x="5712699" y="6327572"/>
                  <a:pt x="5712699" y="6317075"/>
                </a:cubicBezTo>
                <a:cubicBezTo>
                  <a:pt x="5712699" y="6306579"/>
                  <a:pt x="5720156" y="6299125"/>
                  <a:pt x="5730649" y="6299125"/>
                </a:cubicBezTo>
                <a:close/>
                <a:moveTo>
                  <a:pt x="5730639" y="6295259"/>
                </a:moveTo>
                <a:cubicBezTo>
                  <a:pt x="5717936" y="6295259"/>
                  <a:pt x="5708823" y="6304372"/>
                  <a:pt x="5708823" y="6317075"/>
                </a:cubicBezTo>
                <a:cubicBezTo>
                  <a:pt x="5708823" y="6329779"/>
                  <a:pt x="5717936" y="6338895"/>
                  <a:pt x="5730639" y="6338895"/>
                </a:cubicBezTo>
                <a:lnTo>
                  <a:pt x="5730649" y="6338895"/>
                </a:lnTo>
                <a:cubicBezTo>
                  <a:pt x="5743353" y="6338895"/>
                  <a:pt x="5752466" y="6329779"/>
                  <a:pt x="5752466" y="6317075"/>
                </a:cubicBezTo>
                <a:cubicBezTo>
                  <a:pt x="5752466" y="6304372"/>
                  <a:pt x="5743343" y="6295259"/>
                  <a:pt x="5730639" y="6295259"/>
                </a:cubicBezTo>
                <a:close/>
                <a:moveTo>
                  <a:pt x="5305071" y="6295259"/>
                </a:moveTo>
                <a:lnTo>
                  <a:pt x="5305071" y="6492992"/>
                </a:lnTo>
                <a:lnTo>
                  <a:pt x="5336829" y="6492992"/>
                </a:lnTo>
                <a:lnTo>
                  <a:pt x="5336829" y="6295259"/>
                </a:lnTo>
                <a:close/>
                <a:moveTo>
                  <a:pt x="5242655" y="6295259"/>
                </a:moveTo>
                <a:lnTo>
                  <a:pt x="5242655" y="6492992"/>
                </a:lnTo>
                <a:lnTo>
                  <a:pt x="5274138" y="6492992"/>
                </a:lnTo>
                <a:lnTo>
                  <a:pt x="5274138" y="6295259"/>
                </a:lnTo>
                <a:close/>
                <a:moveTo>
                  <a:pt x="4835312" y="6295259"/>
                </a:moveTo>
                <a:lnTo>
                  <a:pt x="4885850" y="6492441"/>
                </a:lnTo>
                <a:lnTo>
                  <a:pt x="4925617" y="6492441"/>
                </a:lnTo>
                <a:lnTo>
                  <a:pt x="4962625" y="6338898"/>
                </a:lnTo>
                <a:lnTo>
                  <a:pt x="4963176" y="6338898"/>
                </a:lnTo>
                <a:lnTo>
                  <a:pt x="5000181" y="6492441"/>
                </a:lnTo>
                <a:lnTo>
                  <a:pt x="5038295" y="6492441"/>
                </a:lnTo>
                <a:lnTo>
                  <a:pt x="5088833" y="6295259"/>
                </a:lnTo>
                <a:lnTo>
                  <a:pt x="5054875" y="6295259"/>
                </a:lnTo>
                <a:lnTo>
                  <a:pt x="5020620" y="6447425"/>
                </a:lnTo>
                <a:lnTo>
                  <a:pt x="5020066" y="6447425"/>
                </a:lnTo>
                <a:lnTo>
                  <a:pt x="4984982" y="6295259"/>
                </a:lnTo>
                <a:lnTo>
                  <a:pt x="4941370" y="6295259"/>
                </a:lnTo>
                <a:lnTo>
                  <a:pt x="4906286" y="6447425"/>
                </a:lnTo>
                <a:lnTo>
                  <a:pt x="4905735" y="6447425"/>
                </a:lnTo>
                <a:lnTo>
                  <a:pt x="4871481" y="6295259"/>
                </a:lnTo>
                <a:close/>
                <a:moveTo>
                  <a:pt x="0" y="0"/>
                </a:moveTo>
                <a:lnTo>
                  <a:pt x="6112800" y="0"/>
                </a:lnTo>
                <a:lnTo>
                  <a:pt x="61128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Click here and insert image via Insert &gt; Imag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09FF430-0C3E-44D6-AAE3-F9B2196ADD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01200" y="2160000"/>
            <a:ext cx="4932000" cy="3978000"/>
          </a:xfrm>
        </p:spPr>
        <p:txBody>
          <a:bodyPr anchor="t" anchorCtr="0"/>
          <a:lstStyle>
            <a:lvl1pPr marL="0" indent="0">
              <a:buNone/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	 to add text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2B0324C-A039-4DA9-A64C-21861C576F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5953970-A800-47E6-9C78-4038F96D5BA8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1361D7-EFEF-4D5A-A85B-569EBF46AC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3C5BE49-EFEB-4248-8EEA-4E4B153269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7937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A59914E-6CC7-4A80-9A35-C206A44D570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15D2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1F4A876-8E36-4600-9E78-73F87B6BDB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3899" t="14064" b="54157"/>
          <a:stretch>
            <a:fillRect/>
          </a:stretch>
        </p:blipFill>
        <p:spPr>
          <a:xfrm>
            <a:off x="0" y="-2"/>
            <a:ext cx="3474720" cy="6858004"/>
          </a:xfrm>
          <a:custGeom>
            <a:avLst/>
            <a:gdLst>
              <a:gd name="connsiteX0" fmla="*/ 0 w 3474720"/>
              <a:gd name="connsiteY0" fmla="*/ 0 h 6858004"/>
              <a:gd name="connsiteX1" fmla="*/ 3474720 w 3474720"/>
              <a:gd name="connsiteY1" fmla="*/ 0 h 6858004"/>
              <a:gd name="connsiteX2" fmla="*/ 3474720 w 3474720"/>
              <a:gd name="connsiteY2" fmla="*/ 6858004 h 6858004"/>
              <a:gd name="connsiteX3" fmla="*/ 0 w 3474720"/>
              <a:gd name="connsiteY3" fmla="*/ 6858004 h 685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74720" h="6858004">
                <a:moveTo>
                  <a:pt x="0" y="0"/>
                </a:moveTo>
                <a:lnTo>
                  <a:pt x="3474720" y="0"/>
                </a:lnTo>
                <a:lnTo>
                  <a:pt x="3474720" y="6858004"/>
                </a:lnTo>
                <a:lnTo>
                  <a:pt x="0" y="6858004"/>
                </a:lnTo>
                <a:close/>
              </a:path>
            </a:pathLst>
          </a:cu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C6AC735A-B06D-4B86-9067-E0F3C728EF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4132" r="49494"/>
          <a:stretch>
            <a:fillRect/>
          </a:stretch>
        </p:blipFill>
        <p:spPr>
          <a:xfrm>
            <a:off x="1321002" y="-1688"/>
            <a:ext cx="10870999" cy="3415449"/>
          </a:xfrm>
          <a:custGeom>
            <a:avLst/>
            <a:gdLst>
              <a:gd name="connsiteX0" fmla="*/ 0 w 10870999"/>
              <a:gd name="connsiteY0" fmla="*/ 0 h 3415449"/>
              <a:gd name="connsiteX1" fmla="*/ 10870999 w 10870999"/>
              <a:gd name="connsiteY1" fmla="*/ 0 h 3415449"/>
              <a:gd name="connsiteX2" fmla="*/ 10870999 w 10870999"/>
              <a:gd name="connsiteY2" fmla="*/ 3415449 h 3415449"/>
              <a:gd name="connsiteX3" fmla="*/ 0 w 10870999"/>
              <a:gd name="connsiteY3" fmla="*/ 3415449 h 3415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0999" h="3415449">
                <a:moveTo>
                  <a:pt x="0" y="0"/>
                </a:moveTo>
                <a:lnTo>
                  <a:pt x="10870999" y="0"/>
                </a:lnTo>
                <a:lnTo>
                  <a:pt x="10870999" y="3415449"/>
                </a:lnTo>
                <a:lnTo>
                  <a:pt x="0" y="3415449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46400" y="2160000"/>
            <a:ext cx="4388400" cy="3978000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09FF430-0C3E-44D6-AAE3-F9B2196ADD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01200" y="2160000"/>
            <a:ext cx="4932000" cy="3978000"/>
          </a:xfrm>
        </p:spPr>
        <p:txBody>
          <a:bodyPr anchor="t" anchorCtr="0"/>
          <a:lstStyle>
            <a:lvl1pPr marL="0" indent="0">
              <a:buNone/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2B0324C-A039-4DA9-A64C-21861C576F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A6454EE-F02B-46DF-9854-8400A53D409A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1361D7-EFEF-4D5A-A85B-569EBF46AC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3C5BE49-EFEB-4248-8EEA-4E4B153269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F1E51A6F-E5D0-454F-84B2-E2F3C42EAD7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375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07D7CC-1025-447F-B72C-C8B9AAF3B7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621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07D7CC-1025-447F-B72C-C8B9AAF3B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A0C67C3-09B1-41EF-A4A9-DC60FD51BBF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D60F4AF7-1C98-404B-B13F-4A260AB259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745" t="84258"/>
          <a:stretch>
            <a:fillRect/>
          </a:stretch>
        </p:blipFill>
        <p:spPr>
          <a:xfrm>
            <a:off x="-5716" y="-20321"/>
            <a:ext cx="9825999" cy="3140441"/>
          </a:xfrm>
          <a:custGeom>
            <a:avLst/>
            <a:gdLst>
              <a:gd name="connsiteX0" fmla="*/ 9022254 w 9825999"/>
              <a:gd name="connsiteY0" fmla="*/ 0 h 3140441"/>
              <a:gd name="connsiteX1" fmla="*/ 9825999 w 9825999"/>
              <a:gd name="connsiteY1" fmla="*/ 0 h 3140441"/>
              <a:gd name="connsiteX2" fmla="*/ 9825999 w 9825999"/>
              <a:gd name="connsiteY2" fmla="*/ 3140441 h 3140441"/>
              <a:gd name="connsiteX3" fmla="*/ 0 w 9825999"/>
              <a:gd name="connsiteY3" fmla="*/ 3140441 h 3140441"/>
              <a:gd name="connsiteX4" fmla="*/ 0 w 9825999"/>
              <a:gd name="connsiteY4" fmla="*/ 20321 h 3140441"/>
              <a:gd name="connsiteX5" fmla="*/ 9022254 w 9825999"/>
              <a:gd name="connsiteY5" fmla="*/ 20321 h 314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25999" h="3140441">
                <a:moveTo>
                  <a:pt x="9022254" y="0"/>
                </a:moveTo>
                <a:lnTo>
                  <a:pt x="9825999" y="0"/>
                </a:lnTo>
                <a:lnTo>
                  <a:pt x="9825999" y="3140441"/>
                </a:lnTo>
                <a:lnTo>
                  <a:pt x="0" y="3140441"/>
                </a:lnTo>
                <a:lnTo>
                  <a:pt x="0" y="20321"/>
                </a:lnTo>
                <a:lnTo>
                  <a:pt x="9022254" y="20321"/>
                </a:lnTo>
                <a:close/>
              </a:path>
            </a:pathLst>
          </a:cu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F70F8A7-B828-48D2-A4A9-B9E2088E29C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  <p:sp>
        <p:nvSpPr>
          <p:cNvPr id="143" name="Slide Number Placeholder 142" hidden="1">
            <a:extLst>
              <a:ext uri="{FF2B5EF4-FFF2-40B4-BE49-F238E27FC236}">
                <a16:creationId xmlns:a16="http://schemas.microsoft.com/office/drawing/2014/main" id="{F5A55695-81EF-49A8-9F93-D616792E9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9" name="Footer Placeholder 141" hidden="1">
            <a:extLst>
              <a:ext uri="{FF2B5EF4-FFF2-40B4-BE49-F238E27FC236}">
                <a16:creationId xmlns:a16="http://schemas.microsoft.com/office/drawing/2014/main" id="{9960887F-5E30-405E-87E8-A591BF313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anchor="b" anchorCtr="0"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6" name="Date Placeholder 140">
            <a:extLst>
              <a:ext uri="{FF2B5EF4-FFF2-40B4-BE49-F238E27FC236}">
                <a16:creationId xmlns:a16="http://schemas.microsoft.com/office/drawing/2014/main" id="{5F06FBC7-4225-4205-B2B3-2BB3B01766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1950" y="6136930"/>
            <a:ext cx="1968500" cy="360000"/>
          </a:xfrm>
          <a:prstGeom prst="rect">
            <a:avLst/>
          </a:prstGeom>
        </p:spPr>
        <p:txBody>
          <a:bodyPr anchor="b" anchorCtr="0"/>
          <a:lstStyle>
            <a:lvl1pPr algn="l">
              <a:defRPr sz="1200">
                <a:latin typeface="+mj-lt"/>
              </a:defRPr>
            </a:lvl1pPr>
          </a:lstStyle>
          <a:p>
            <a:fld id="{88CE53BF-A2B6-4C53-ADC8-0614C4897278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FAB6400-36A7-4636-9EA5-CC008A8E3A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39204" y="720000"/>
            <a:ext cx="7874576" cy="3258000"/>
          </a:xfrm>
          <a:prstGeom prst="rect">
            <a:avLst/>
          </a:prstGeom>
        </p:spPr>
        <p:txBody>
          <a:bodyPr vert="horz" anchor="b"/>
          <a:lstStyle>
            <a:lvl1pPr algn="l">
              <a:defRPr sz="60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2F1F241-4626-472E-BCEA-F767F29EBB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27080" y="4157190"/>
            <a:ext cx="7886700" cy="720000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4FF3889-87A4-48F6-ABD1-B193E23BF5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27079" y="6136930"/>
            <a:ext cx="7886700" cy="360000"/>
          </a:xfrm>
        </p:spPr>
        <p:txBody>
          <a:bodyPr anchor="b"/>
          <a:lstStyle>
            <a:lvl1pPr marL="0" indent="0">
              <a:buNone/>
              <a:defRPr sz="1200">
                <a:latin typeface="+mj-lt"/>
              </a:defRPr>
            </a:lvl1pPr>
          </a:lstStyle>
          <a:p>
            <a:pPr lvl="0"/>
            <a:r>
              <a:rPr lang="en-GB" dirty="0"/>
              <a:t>Insert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41629903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 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0A57601-BC56-4CAD-A05D-133263FEABA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587250 w 12192000"/>
              <a:gd name="connsiteY0" fmla="*/ 6372860 h 6858000"/>
              <a:gd name="connsiteX1" fmla="*/ 11622324 w 12192000"/>
              <a:gd name="connsiteY1" fmla="*/ 6406554 h 6858000"/>
              <a:gd name="connsiteX2" fmla="*/ 11550796 w 12192000"/>
              <a:gd name="connsiteY2" fmla="*/ 6406554 h 6858000"/>
              <a:gd name="connsiteX3" fmla="*/ 11587250 w 12192000"/>
              <a:gd name="connsiteY3" fmla="*/ 6372860 h 6858000"/>
              <a:gd name="connsiteX4" fmla="*/ 11232377 w 12192000"/>
              <a:gd name="connsiteY4" fmla="*/ 6372860 h 6858000"/>
              <a:gd name="connsiteX5" fmla="*/ 11267451 w 12192000"/>
              <a:gd name="connsiteY5" fmla="*/ 6406554 h 6858000"/>
              <a:gd name="connsiteX6" fmla="*/ 11195926 w 12192000"/>
              <a:gd name="connsiteY6" fmla="*/ 6406554 h 6858000"/>
              <a:gd name="connsiteX7" fmla="*/ 11232377 w 12192000"/>
              <a:gd name="connsiteY7" fmla="*/ 6372860 h 6858000"/>
              <a:gd name="connsiteX8" fmla="*/ 11738583 w 12192000"/>
              <a:gd name="connsiteY8" fmla="*/ 6345815 h 6858000"/>
              <a:gd name="connsiteX9" fmla="*/ 11668160 w 12192000"/>
              <a:gd name="connsiteY9" fmla="*/ 6422586 h 6858000"/>
              <a:gd name="connsiteX10" fmla="*/ 11737478 w 12192000"/>
              <a:gd name="connsiteY10" fmla="*/ 6496321 h 6858000"/>
              <a:gd name="connsiteX11" fmla="*/ 11737485 w 12192000"/>
              <a:gd name="connsiteY11" fmla="*/ 6496311 h 6858000"/>
              <a:gd name="connsiteX12" fmla="*/ 11801277 w 12192000"/>
              <a:gd name="connsiteY12" fmla="*/ 6444671 h 6858000"/>
              <a:gd name="connsiteX13" fmla="*/ 11770359 w 12192000"/>
              <a:gd name="connsiteY13" fmla="*/ 6444671 h 6858000"/>
              <a:gd name="connsiteX14" fmla="*/ 11737495 w 12192000"/>
              <a:gd name="connsiteY14" fmla="*/ 6469252 h 6858000"/>
              <a:gd name="connsiteX15" fmla="*/ 11700765 w 12192000"/>
              <a:gd name="connsiteY15" fmla="*/ 6422579 h 6858000"/>
              <a:gd name="connsiteX16" fmla="*/ 11738875 w 12192000"/>
              <a:gd name="connsiteY16" fmla="*/ 6372867 h 6858000"/>
              <a:gd name="connsiteX17" fmla="*/ 11769254 w 12192000"/>
              <a:gd name="connsiteY17" fmla="*/ 6400209 h 6858000"/>
              <a:gd name="connsiteX18" fmla="*/ 11801270 w 12192000"/>
              <a:gd name="connsiteY18" fmla="*/ 6400209 h 6858000"/>
              <a:gd name="connsiteX19" fmla="*/ 11738583 w 12192000"/>
              <a:gd name="connsiteY19" fmla="*/ 6345815 h 6858000"/>
              <a:gd name="connsiteX20" fmla="*/ 11587512 w 12192000"/>
              <a:gd name="connsiteY20" fmla="*/ 6345804 h 6858000"/>
              <a:gd name="connsiteX21" fmla="*/ 11518197 w 12192000"/>
              <a:gd name="connsiteY21" fmla="*/ 6421199 h 6858000"/>
              <a:gd name="connsiteX22" fmla="*/ 11588083 w 12192000"/>
              <a:gd name="connsiteY22" fmla="*/ 6496314 h 6858000"/>
              <a:gd name="connsiteX23" fmla="*/ 11588066 w 12192000"/>
              <a:gd name="connsiteY23" fmla="*/ 6496321 h 6858000"/>
              <a:gd name="connsiteX24" fmla="*/ 11652688 w 12192000"/>
              <a:gd name="connsiteY24" fmla="*/ 6448812 h 6858000"/>
              <a:gd name="connsiteX25" fmla="*/ 11621756 w 12192000"/>
              <a:gd name="connsiteY25" fmla="*/ 6448812 h 6858000"/>
              <a:gd name="connsiteX26" fmla="*/ 11588066 w 12192000"/>
              <a:gd name="connsiteY26" fmla="*/ 6469252 h 6858000"/>
              <a:gd name="connsiteX27" fmla="*/ 11550782 w 12192000"/>
              <a:gd name="connsiteY27" fmla="*/ 6429206 h 6858000"/>
              <a:gd name="connsiteX28" fmla="*/ 11654620 w 12192000"/>
              <a:gd name="connsiteY28" fmla="*/ 6429206 h 6858000"/>
              <a:gd name="connsiteX29" fmla="*/ 11587512 w 12192000"/>
              <a:gd name="connsiteY29" fmla="*/ 6345804 h 6858000"/>
              <a:gd name="connsiteX30" fmla="*/ 11232656 w 12192000"/>
              <a:gd name="connsiteY30" fmla="*/ 6345794 h 6858000"/>
              <a:gd name="connsiteX31" fmla="*/ 11163338 w 12192000"/>
              <a:gd name="connsiteY31" fmla="*/ 6421188 h 6858000"/>
              <a:gd name="connsiteX32" fmla="*/ 11233206 w 12192000"/>
              <a:gd name="connsiteY32" fmla="*/ 6496311 h 6858000"/>
              <a:gd name="connsiteX33" fmla="*/ 11297829 w 12192000"/>
              <a:gd name="connsiteY33" fmla="*/ 6448802 h 6858000"/>
              <a:gd name="connsiteX34" fmla="*/ 11266900 w 12192000"/>
              <a:gd name="connsiteY34" fmla="*/ 6448802 h 6858000"/>
              <a:gd name="connsiteX35" fmla="*/ 11233206 w 12192000"/>
              <a:gd name="connsiteY35" fmla="*/ 6469241 h 6858000"/>
              <a:gd name="connsiteX36" fmla="*/ 11195926 w 12192000"/>
              <a:gd name="connsiteY36" fmla="*/ 6429196 h 6858000"/>
              <a:gd name="connsiteX37" fmla="*/ 11299763 w 12192000"/>
              <a:gd name="connsiteY37" fmla="*/ 6429196 h 6858000"/>
              <a:gd name="connsiteX38" fmla="*/ 11232656 w 12192000"/>
              <a:gd name="connsiteY38" fmla="*/ 6345794 h 6858000"/>
              <a:gd name="connsiteX39" fmla="*/ 11804992 w 12192000"/>
              <a:gd name="connsiteY39" fmla="*/ 6308754 h 6858000"/>
              <a:gd name="connsiteX40" fmla="*/ 11812170 w 12192000"/>
              <a:gd name="connsiteY40" fmla="*/ 6308754 h 6858000"/>
              <a:gd name="connsiteX41" fmla="*/ 11816036 w 12192000"/>
              <a:gd name="connsiteY41" fmla="*/ 6312345 h 6858000"/>
              <a:gd name="connsiteX42" fmla="*/ 11812170 w 12192000"/>
              <a:gd name="connsiteY42" fmla="*/ 6315660 h 6858000"/>
              <a:gd name="connsiteX43" fmla="*/ 11804992 w 12192000"/>
              <a:gd name="connsiteY43" fmla="*/ 6315660 h 6858000"/>
              <a:gd name="connsiteX44" fmla="*/ 11451664 w 12192000"/>
              <a:gd name="connsiteY44" fmla="*/ 6306857 h 6858000"/>
              <a:gd name="connsiteX45" fmla="*/ 11451664 w 12192000"/>
              <a:gd name="connsiteY45" fmla="*/ 6349653 h 6858000"/>
              <a:gd name="connsiteX46" fmla="*/ 11430123 w 12192000"/>
              <a:gd name="connsiteY46" fmla="*/ 6349653 h 6858000"/>
              <a:gd name="connsiteX47" fmla="*/ 11430123 w 12192000"/>
              <a:gd name="connsiteY47" fmla="*/ 6373129 h 6858000"/>
              <a:gd name="connsiteX48" fmla="*/ 11451664 w 12192000"/>
              <a:gd name="connsiteY48" fmla="*/ 6373129 h 6858000"/>
              <a:gd name="connsiteX49" fmla="*/ 11451664 w 12192000"/>
              <a:gd name="connsiteY49" fmla="*/ 6453226 h 6858000"/>
              <a:gd name="connsiteX50" fmla="*/ 11491709 w 12192000"/>
              <a:gd name="connsiteY50" fmla="*/ 6494097 h 6858000"/>
              <a:gd name="connsiteX51" fmla="*/ 11510486 w 12192000"/>
              <a:gd name="connsiteY51" fmla="*/ 6492441 h 6858000"/>
              <a:gd name="connsiteX52" fmla="*/ 11510486 w 12192000"/>
              <a:gd name="connsiteY52" fmla="*/ 6468140 h 6858000"/>
              <a:gd name="connsiteX53" fmla="*/ 11497231 w 12192000"/>
              <a:gd name="connsiteY53" fmla="*/ 6469245 h 6858000"/>
              <a:gd name="connsiteX54" fmla="*/ 11482042 w 12192000"/>
              <a:gd name="connsiteY54" fmla="*/ 6453226 h 6858000"/>
              <a:gd name="connsiteX55" fmla="*/ 11482042 w 12192000"/>
              <a:gd name="connsiteY55" fmla="*/ 6373139 h 6858000"/>
              <a:gd name="connsiteX56" fmla="*/ 11510486 w 12192000"/>
              <a:gd name="connsiteY56" fmla="*/ 6373139 h 6858000"/>
              <a:gd name="connsiteX57" fmla="*/ 11510486 w 12192000"/>
              <a:gd name="connsiteY57" fmla="*/ 6349653 h 6858000"/>
              <a:gd name="connsiteX58" fmla="*/ 11482042 w 12192000"/>
              <a:gd name="connsiteY58" fmla="*/ 6349653 h 6858000"/>
              <a:gd name="connsiteX59" fmla="*/ 11482042 w 12192000"/>
              <a:gd name="connsiteY59" fmla="*/ 6306857 h 6858000"/>
              <a:gd name="connsiteX60" fmla="*/ 11801136 w 12192000"/>
              <a:gd name="connsiteY60" fmla="*/ 6305439 h 6858000"/>
              <a:gd name="connsiteX61" fmla="*/ 11801136 w 12192000"/>
              <a:gd name="connsiteY61" fmla="*/ 6328915 h 6858000"/>
              <a:gd name="connsiteX62" fmla="*/ 11805002 w 12192000"/>
              <a:gd name="connsiteY62" fmla="*/ 6328915 h 6858000"/>
              <a:gd name="connsiteX63" fmla="*/ 11805002 w 12192000"/>
              <a:gd name="connsiteY63" fmla="*/ 6318972 h 6858000"/>
              <a:gd name="connsiteX64" fmla="*/ 11810800 w 12192000"/>
              <a:gd name="connsiteY64" fmla="*/ 6318972 h 6858000"/>
              <a:gd name="connsiteX65" fmla="*/ 11816046 w 12192000"/>
              <a:gd name="connsiteY65" fmla="*/ 6323668 h 6858000"/>
              <a:gd name="connsiteX66" fmla="*/ 11816325 w 12192000"/>
              <a:gd name="connsiteY66" fmla="*/ 6328915 h 6858000"/>
              <a:gd name="connsiteX67" fmla="*/ 11820191 w 12192000"/>
              <a:gd name="connsiteY67" fmla="*/ 6328915 h 6858000"/>
              <a:gd name="connsiteX68" fmla="*/ 11819637 w 12192000"/>
              <a:gd name="connsiteY68" fmla="*/ 6322287 h 6858000"/>
              <a:gd name="connsiteX69" fmla="*/ 11816325 w 12192000"/>
              <a:gd name="connsiteY69" fmla="*/ 6317592 h 6858000"/>
              <a:gd name="connsiteX70" fmla="*/ 11819912 w 12192000"/>
              <a:gd name="connsiteY70" fmla="*/ 6311794 h 6858000"/>
              <a:gd name="connsiteX71" fmla="*/ 11812180 w 12192000"/>
              <a:gd name="connsiteY71" fmla="*/ 6305439 h 6858000"/>
              <a:gd name="connsiteX72" fmla="*/ 11809849 w 12192000"/>
              <a:gd name="connsiteY72" fmla="*/ 6299125 h 6858000"/>
              <a:gd name="connsiteX73" fmla="*/ 11827799 w 12192000"/>
              <a:gd name="connsiteY73" fmla="*/ 6317075 h 6858000"/>
              <a:gd name="connsiteX74" fmla="*/ 11809849 w 12192000"/>
              <a:gd name="connsiteY74" fmla="*/ 6335025 h 6858000"/>
              <a:gd name="connsiteX75" fmla="*/ 11791899 w 12192000"/>
              <a:gd name="connsiteY75" fmla="*/ 6317075 h 6858000"/>
              <a:gd name="connsiteX76" fmla="*/ 11809849 w 12192000"/>
              <a:gd name="connsiteY76" fmla="*/ 6299125 h 6858000"/>
              <a:gd name="connsiteX77" fmla="*/ 11809839 w 12192000"/>
              <a:gd name="connsiteY77" fmla="*/ 6295259 h 6858000"/>
              <a:gd name="connsiteX78" fmla="*/ 11788023 w 12192000"/>
              <a:gd name="connsiteY78" fmla="*/ 6317075 h 6858000"/>
              <a:gd name="connsiteX79" fmla="*/ 11809839 w 12192000"/>
              <a:gd name="connsiteY79" fmla="*/ 6338895 h 6858000"/>
              <a:gd name="connsiteX80" fmla="*/ 11809849 w 12192000"/>
              <a:gd name="connsiteY80" fmla="*/ 6338895 h 6858000"/>
              <a:gd name="connsiteX81" fmla="*/ 11831666 w 12192000"/>
              <a:gd name="connsiteY81" fmla="*/ 6317075 h 6858000"/>
              <a:gd name="connsiteX82" fmla="*/ 11809839 w 12192000"/>
              <a:gd name="connsiteY82" fmla="*/ 6295259 h 6858000"/>
              <a:gd name="connsiteX83" fmla="*/ 11384271 w 12192000"/>
              <a:gd name="connsiteY83" fmla="*/ 6295259 h 6858000"/>
              <a:gd name="connsiteX84" fmla="*/ 11384271 w 12192000"/>
              <a:gd name="connsiteY84" fmla="*/ 6492992 h 6858000"/>
              <a:gd name="connsiteX85" fmla="*/ 11416029 w 12192000"/>
              <a:gd name="connsiteY85" fmla="*/ 6492992 h 6858000"/>
              <a:gd name="connsiteX86" fmla="*/ 11416029 w 12192000"/>
              <a:gd name="connsiteY86" fmla="*/ 6295259 h 6858000"/>
              <a:gd name="connsiteX87" fmla="*/ 11321855 w 12192000"/>
              <a:gd name="connsiteY87" fmla="*/ 6295259 h 6858000"/>
              <a:gd name="connsiteX88" fmla="*/ 11321855 w 12192000"/>
              <a:gd name="connsiteY88" fmla="*/ 6492992 h 6858000"/>
              <a:gd name="connsiteX89" fmla="*/ 11353338 w 12192000"/>
              <a:gd name="connsiteY89" fmla="*/ 6492992 h 6858000"/>
              <a:gd name="connsiteX90" fmla="*/ 11353338 w 12192000"/>
              <a:gd name="connsiteY90" fmla="*/ 6295259 h 6858000"/>
              <a:gd name="connsiteX91" fmla="*/ 10914512 w 12192000"/>
              <a:gd name="connsiteY91" fmla="*/ 6295259 h 6858000"/>
              <a:gd name="connsiteX92" fmla="*/ 10965050 w 12192000"/>
              <a:gd name="connsiteY92" fmla="*/ 6492441 h 6858000"/>
              <a:gd name="connsiteX93" fmla="*/ 11004817 w 12192000"/>
              <a:gd name="connsiteY93" fmla="*/ 6492441 h 6858000"/>
              <a:gd name="connsiteX94" fmla="*/ 11041825 w 12192000"/>
              <a:gd name="connsiteY94" fmla="*/ 6338898 h 6858000"/>
              <a:gd name="connsiteX95" fmla="*/ 11042376 w 12192000"/>
              <a:gd name="connsiteY95" fmla="*/ 6338898 h 6858000"/>
              <a:gd name="connsiteX96" fmla="*/ 11079381 w 12192000"/>
              <a:gd name="connsiteY96" fmla="*/ 6492441 h 6858000"/>
              <a:gd name="connsiteX97" fmla="*/ 11117495 w 12192000"/>
              <a:gd name="connsiteY97" fmla="*/ 6492441 h 6858000"/>
              <a:gd name="connsiteX98" fmla="*/ 11168033 w 12192000"/>
              <a:gd name="connsiteY98" fmla="*/ 6295259 h 6858000"/>
              <a:gd name="connsiteX99" fmla="*/ 11134075 w 12192000"/>
              <a:gd name="connsiteY99" fmla="*/ 6295259 h 6858000"/>
              <a:gd name="connsiteX100" fmla="*/ 11099820 w 12192000"/>
              <a:gd name="connsiteY100" fmla="*/ 6447425 h 6858000"/>
              <a:gd name="connsiteX101" fmla="*/ 11099266 w 12192000"/>
              <a:gd name="connsiteY101" fmla="*/ 6447425 h 6858000"/>
              <a:gd name="connsiteX102" fmla="*/ 11064182 w 12192000"/>
              <a:gd name="connsiteY102" fmla="*/ 6295259 h 6858000"/>
              <a:gd name="connsiteX103" fmla="*/ 11020570 w 12192000"/>
              <a:gd name="connsiteY103" fmla="*/ 6295259 h 6858000"/>
              <a:gd name="connsiteX104" fmla="*/ 10985486 w 12192000"/>
              <a:gd name="connsiteY104" fmla="*/ 6447425 h 6858000"/>
              <a:gd name="connsiteX105" fmla="*/ 10984935 w 12192000"/>
              <a:gd name="connsiteY105" fmla="*/ 6447425 h 6858000"/>
              <a:gd name="connsiteX106" fmla="*/ 10950681 w 12192000"/>
              <a:gd name="connsiteY106" fmla="*/ 6295259 h 6858000"/>
              <a:gd name="connsiteX107" fmla="*/ 0 w 12192000"/>
              <a:gd name="connsiteY107" fmla="*/ 0 h 6858000"/>
              <a:gd name="connsiteX108" fmla="*/ 6079200 w 12192000"/>
              <a:gd name="connsiteY108" fmla="*/ 0 h 6858000"/>
              <a:gd name="connsiteX109" fmla="*/ 6900863 w 12192000"/>
              <a:gd name="connsiteY109" fmla="*/ 0 h 6858000"/>
              <a:gd name="connsiteX110" fmla="*/ 12192000 w 12192000"/>
              <a:gd name="connsiteY110" fmla="*/ 0 h 6858000"/>
              <a:gd name="connsiteX111" fmla="*/ 12192000 w 12192000"/>
              <a:gd name="connsiteY111" fmla="*/ 6858000 h 6858000"/>
              <a:gd name="connsiteX112" fmla="*/ 6900863 w 12192000"/>
              <a:gd name="connsiteY112" fmla="*/ 6858000 h 6858000"/>
              <a:gd name="connsiteX113" fmla="*/ 6079200 w 12192000"/>
              <a:gd name="connsiteY113" fmla="*/ 6858000 h 6858000"/>
              <a:gd name="connsiteX114" fmla="*/ 0 w 12192000"/>
              <a:gd name="connsiteY1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2192000" h="6858000">
                <a:moveTo>
                  <a:pt x="11587250" y="6372860"/>
                </a:moveTo>
                <a:cubicBezTo>
                  <a:pt x="11608791" y="6372860"/>
                  <a:pt x="11620947" y="6388604"/>
                  <a:pt x="11622324" y="6406554"/>
                </a:cubicBezTo>
                <a:lnTo>
                  <a:pt x="11550796" y="6406554"/>
                </a:lnTo>
                <a:cubicBezTo>
                  <a:pt x="11553281" y="6389154"/>
                  <a:pt x="11565709" y="6372860"/>
                  <a:pt x="11587250" y="6372860"/>
                </a:cubicBezTo>
                <a:close/>
                <a:moveTo>
                  <a:pt x="11232377" y="6372860"/>
                </a:moveTo>
                <a:cubicBezTo>
                  <a:pt x="11253917" y="6372860"/>
                  <a:pt x="11266070" y="6388604"/>
                  <a:pt x="11267451" y="6406554"/>
                </a:cubicBezTo>
                <a:lnTo>
                  <a:pt x="11195926" y="6406554"/>
                </a:lnTo>
                <a:cubicBezTo>
                  <a:pt x="11198411" y="6389154"/>
                  <a:pt x="11210836" y="6372860"/>
                  <a:pt x="11232377" y="6372860"/>
                </a:cubicBezTo>
                <a:close/>
                <a:moveTo>
                  <a:pt x="11738583" y="6345815"/>
                </a:moveTo>
                <a:cubicBezTo>
                  <a:pt x="11691635" y="6345815"/>
                  <a:pt x="11668160" y="6379508"/>
                  <a:pt x="11668160" y="6422586"/>
                </a:cubicBezTo>
                <a:cubicBezTo>
                  <a:pt x="11668160" y="6464563"/>
                  <a:pt x="11692740" y="6496321"/>
                  <a:pt x="11737478" y="6496321"/>
                </a:cubicBezTo>
                <a:lnTo>
                  <a:pt x="11737485" y="6496311"/>
                </a:lnTo>
                <a:cubicBezTo>
                  <a:pt x="11771178" y="6496311"/>
                  <a:pt x="11794633" y="6478361"/>
                  <a:pt x="11801277" y="6444671"/>
                </a:cubicBezTo>
                <a:lnTo>
                  <a:pt x="11770359" y="6444671"/>
                </a:lnTo>
                <a:cubicBezTo>
                  <a:pt x="11767043" y="6460414"/>
                  <a:pt x="11757655" y="6469252"/>
                  <a:pt x="11737495" y="6469252"/>
                </a:cubicBezTo>
                <a:cubicBezTo>
                  <a:pt x="11710986" y="6469252"/>
                  <a:pt x="11700765" y="6446330"/>
                  <a:pt x="11700765" y="6422579"/>
                </a:cubicBezTo>
                <a:cubicBezTo>
                  <a:pt x="11700765" y="6379498"/>
                  <a:pt x="11723411" y="6372867"/>
                  <a:pt x="11738875" y="6372867"/>
                </a:cubicBezTo>
                <a:cubicBezTo>
                  <a:pt x="11754619" y="6372867"/>
                  <a:pt x="11766761" y="6382534"/>
                  <a:pt x="11769254" y="6400209"/>
                </a:cubicBezTo>
                <a:lnTo>
                  <a:pt x="11801270" y="6400209"/>
                </a:lnTo>
                <a:cubicBezTo>
                  <a:pt x="11798234" y="6365135"/>
                  <a:pt x="11770066" y="6345815"/>
                  <a:pt x="11738583" y="6345815"/>
                </a:cubicBezTo>
                <a:close/>
                <a:moveTo>
                  <a:pt x="11587512" y="6345804"/>
                </a:moveTo>
                <a:cubicBezTo>
                  <a:pt x="11544985" y="6345804"/>
                  <a:pt x="11518197" y="6380603"/>
                  <a:pt x="11518197" y="6421199"/>
                </a:cubicBezTo>
                <a:cubicBezTo>
                  <a:pt x="11518197" y="6465385"/>
                  <a:pt x="11543050" y="6496314"/>
                  <a:pt x="11588083" y="6496314"/>
                </a:cubicBezTo>
                <a:lnTo>
                  <a:pt x="11588066" y="6496321"/>
                </a:lnTo>
                <a:cubicBezTo>
                  <a:pt x="11618995" y="6496321"/>
                  <a:pt x="11646061" y="6478922"/>
                  <a:pt x="11652688" y="6448812"/>
                </a:cubicBezTo>
                <a:lnTo>
                  <a:pt x="11621756" y="6448812"/>
                </a:lnTo>
                <a:cubicBezTo>
                  <a:pt x="11617064" y="6462900"/>
                  <a:pt x="11606292" y="6469252"/>
                  <a:pt x="11588066" y="6469252"/>
                </a:cubicBezTo>
                <a:cubicBezTo>
                  <a:pt x="11562659" y="6469252"/>
                  <a:pt x="11551336" y="6449367"/>
                  <a:pt x="11550782" y="6429206"/>
                </a:cubicBezTo>
                <a:lnTo>
                  <a:pt x="11654620" y="6429206"/>
                </a:lnTo>
                <a:cubicBezTo>
                  <a:pt x="11658210" y="6385295"/>
                  <a:pt x="11633079" y="6345804"/>
                  <a:pt x="11587512" y="6345804"/>
                </a:cubicBezTo>
                <a:close/>
                <a:moveTo>
                  <a:pt x="11232656" y="6345794"/>
                </a:moveTo>
                <a:cubicBezTo>
                  <a:pt x="11190125" y="6345794"/>
                  <a:pt x="11163338" y="6380592"/>
                  <a:pt x="11163338" y="6421188"/>
                </a:cubicBezTo>
                <a:cubicBezTo>
                  <a:pt x="11163338" y="6465379"/>
                  <a:pt x="11188204" y="6496311"/>
                  <a:pt x="11233206" y="6496311"/>
                </a:cubicBezTo>
                <a:cubicBezTo>
                  <a:pt x="11264139" y="6496311"/>
                  <a:pt x="11291202" y="6478912"/>
                  <a:pt x="11297829" y="6448802"/>
                </a:cubicBezTo>
                <a:lnTo>
                  <a:pt x="11266900" y="6448802"/>
                </a:lnTo>
                <a:cubicBezTo>
                  <a:pt x="11262204" y="6462890"/>
                  <a:pt x="11251435" y="6469241"/>
                  <a:pt x="11233206" y="6469241"/>
                </a:cubicBezTo>
                <a:cubicBezTo>
                  <a:pt x="11207800" y="6469241"/>
                  <a:pt x="11196477" y="6449356"/>
                  <a:pt x="11195926" y="6429196"/>
                </a:cubicBezTo>
                <a:lnTo>
                  <a:pt x="11299763" y="6429196"/>
                </a:lnTo>
                <a:cubicBezTo>
                  <a:pt x="11303354" y="6385285"/>
                  <a:pt x="11278223" y="6345794"/>
                  <a:pt x="11232656" y="6345794"/>
                </a:cubicBezTo>
                <a:close/>
                <a:moveTo>
                  <a:pt x="11804992" y="6308754"/>
                </a:moveTo>
                <a:lnTo>
                  <a:pt x="11812170" y="6308754"/>
                </a:lnTo>
                <a:cubicBezTo>
                  <a:pt x="11814105" y="6308754"/>
                  <a:pt x="11816036" y="6309309"/>
                  <a:pt x="11816036" y="6312345"/>
                </a:cubicBezTo>
                <a:cubicBezTo>
                  <a:pt x="11816036" y="6314555"/>
                  <a:pt x="11814380" y="6315660"/>
                  <a:pt x="11812170" y="6315660"/>
                </a:cubicBezTo>
                <a:lnTo>
                  <a:pt x="11804992" y="6315660"/>
                </a:lnTo>
                <a:close/>
                <a:moveTo>
                  <a:pt x="11451664" y="6306857"/>
                </a:moveTo>
                <a:lnTo>
                  <a:pt x="11451664" y="6349653"/>
                </a:lnTo>
                <a:lnTo>
                  <a:pt x="11430123" y="6349653"/>
                </a:lnTo>
                <a:lnTo>
                  <a:pt x="11430123" y="6373129"/>
                </a:lnTo>
                <a:lnTo>
                  <a:pt x="11451664" y="6373129"/>
                </a:lnTo>
                <a:lnTo>
                  <a:pt x="11451664" y="6453226"/>
                </a:lnTo>
                <a:cubicBezTo>
                  <a:pt x="11451664" y="6479735"/>
                  <a:pt x="11462433" y="6494097"/>
                  <a:pt x="11491709" y="6494097"/>
                </a:cubicBezTo>
                <a:cubicBezTo>
                  <a:pt x="11497782" y="6494097"/>
                  <a:pt x="11505239" y="6493271"/>
                  <a:pt x="11510486" y="6492441"/>
                </a:cubicBezTo>
                <a:lnTo>
                  <a:pt x="11510486" y="6468140"/>
                </a:lnTo>
                <a:cubicBezTo>
                  <a:pt x="11507731" y="6468690"/>
                  <a:pt x="11501648" y="6469245"/>
                  <a:pt x="11497231" y="6469245"/>
                </a:cubicBezTo>
                <a:cubicBezTo>
                  <a:pt x="11486184" y="6469245"/>
                  <a:pt x="11482042" y="6464824"/>
                  <a:pt x="11482042" y="6453226"/>
                </a:cubicBezTo>
                <a:lnTo>
                  <a:pt x="11482042" y="6373139"/>
                </a:lnTo>
                <a:lnTo>
                  <a:pt x="11510486" y="6373139"/>
                </a:lnTo>
                <a:lnTo>
                  <a:pt x="11510486" y="6349653"/>
                </a:lnTo>
                <a:lnTo>
                  <a:pt x="11482042" y="6349653"/>
                </a:lnTo>
                <a:lnTo>
                  <a:pt x="11482042" y="6306857"/>
                </a:lnTo>
                <a:close/>
                <a:moveTo>
                  <a:pt x="11801136" y="6305439"/>
                </a:moveTo>
                <a:lnTo>
                  <a:pt x="11801136" y="6328915"/>
                </a:lnTo>
                <a:lnTo>
                  <a:pt x="11805002" y="6328915"/>
                </a:lnTo>
                <a:lnTo>
                  <a:pt x="11805002" y="6318972"/>
                </a:lnTo>
                <a:lnTo>
                  <a:pt x="11810800" y="6318972"/>
                </a:lnTo>
                <a:cubicBezTo>
                  <a:pt x="11814390" y="6318972"/>
                  <a:pt x="11816046" y="6320628"/>
                  <a:pt x="11816046" y="6323668"/>
                </a:cubicBezTo>
                <a:cubicBezTo>
                  <a:pt x="11816046" y="6325878"/>
                  <a:pt x="11816046" y="6327534"/>
                  <a:pt x="11816325" y="6328915"/>
                </a:cubicBezTo>
                <a:lnTo>
                  <a:pt x="11820191" y="6328915"/>
                </a:lnTo>
                <a:cubicBezTo>
                  <a:pt x="11819637" y="6326429"/>
                  <a:pt x="11819637" y="6324498"/>
                  <a:pt x="11819637" y="6322287"/>
                </a:cubicBezTo>
                <a:cubicBezTo>
                  <a:pt x="11819637" y="6318972"/>
                  <a:pt x="11817706" y="6317867"/>
                  <a:pt x="11816325" y="6317592"/>
                </a:cubicBezTo>
                <a:cubicBezTo>
                  <a:pt x="11817427" y="6317316"/>
                  <a:pt x="11819912" y="6315936"/>
                  <a:pt x="11819912" y="6311794"/>
                </a:cubicBezTo>
                <a:cubicBezTo>
                  <a:pt x="11819912" y="6308203"/>
                  <a:pt x="11817706" y="6305439"/>
                  <a:pt x="11812180" y="6305439"/>
                </a:cubicBezTo>
                <a:close/>
                <a:moveTo>
                  <a:pt x="11809849" y="6299125"/>
                </a:moveTo>
                <a:cubicBezTo>
                  <a:pt x="11820343" y="6299125"/>
                  <a:pt x="11827799" y="6306582"/>
                  <a:pt x="11827799" y="6317075"/>
                </a:cubicBezTo>
                <a:cubicBezTo>
                  <a:pt x="11827799" y="6327568"/>
                  <a:pt x="11820346" y="6335025"/>
                  <a:pt x="11809849" y="6335025"/>
                </a:cubicBezTo>
                <a:cubicBezTo>
                  <a:pt x="11799356" y="6335025"/>
                  <a:pt x="11791899" y="6327572"/>
                  <a:pt x="11791899" y="6317075"/>
                </a:cubicBezTo>
                <a:cubicBezTo>
                  <a:pt x="11791899" y="6306579"/>
                  <a:pt x="11799356" y="6299125"/>
                  <a:pt x="11809849" y="6299125"/>
                </a:cubicBezTo>
                <a:close/>
                <a:moveTo>
                  <a:pt x="11809839" y="6295259"/>
                </a:moveTo>
                <a:cubicBezTo>
                  <a:pt x="11797136" y="6295259"/>
                  <a:pt x="11788023" y="6304372"/>
                  <a:pt x="11788023" y="6317075"/>
                </a:cubicBezTo>
                <a:cubicBezTo>
                  <a:pt x="11788023" y="6329779"/>
                  <a:pt x="11797136" y="6338895"/>
                  <a:pt x="11809839" y="6338895"/>
                </a:cubicBezTo>
                <a:lnTo>
                  <a:pt x="11809849" y="6338895"/>
                </a:lnTo>
                <a:cubicBezTo>
                  <a:pt x="11822553" y="6338895"/>
                  <a:pt x="11831666" y="6329779"/>
                  <a:pt x="11831666" y="6317075"/>
                </a:cubicBezTo>
                <a:cubicBezTo>
                  <a:pt x="11831666" y="6304372"/>
                  <a:pt x="11822543" y="6295259"/>
                  <a:pt x="11809839" y="6295259"/>
                </a:cubicBezTo>
                <a:close/>
                <a:moveTo>
                  <a:pt x="11384271" y="6295259"/>
                </a:moveTo>
                <a:lnTo>
                  <a:pt x="11384271" y="6492992"/>
                </a:lnTo>
                <a:lnTo>
                  <a:pt x="11416029" y="6492992"/>
                </a:lnTo>
                <a:lnTo>
                  <a:pt x="11416029" y="6295259"/>
                </a:lnTo>
                <a:close/>
                <a:moveTo>
                  <a:pt x="11321855" y="6295259"/>
                </a:moveTo>
                <a:lnTo>
                  <a:pt x="11321855" y="6492992"/>
                </a:lnTo>
                <a:lnTo>
                  <a:pt x="11353338" y="6492992"/>
                </a:lnTo>
                <a:lnTo>
                  <a:pt x="11353338" y="6295259"/>
                </a:lnTo>
                <a:close/>
                <a:moveTo>
                  <a:pt x="10914512" y="6295259"/>
                </a:moveTo>
                <a:lnTo>
                  <a:pt x="10965050" y="6492441"/>
                </a:lnTo>
                <a:lnTo>
                  <a:pt x="11004817" y="6492441"/>
                </a:lnTo>
                <a:lnTo>
                  <a:pt x="11041825" y="6338898"/>
                </a:lnTo>
                <a:lnTo>
                  <a:pt x="11042376" y="6338898"/>
                </a:lnTo>
                <a:lnTo>
                  <a:pt x="11079381" y="6492441"/>
                </a:lnTo>
                <a:lnTo>
                  <a:pt x="11117495" y="6492441"/>
                </a:lnTo>
                <a:lnTo>
                  <a:pt x="11168033" y="6295259"/>
                </a:lnTo>
                <a:lnTo>
                  <a:pt x="11134075" y="6295259"/>
                </a:lnTo>
                <a:lnTo>
                  <a:pt x="11099820" y="6447425"/>
                </a:lnTo>
                <a:lnTo>
                  <a:pt x="11099266" y="6447425"/>
                </a:lnTo>
                <a:lnTo>
                  <a:pt x="11064182" y="6295259"/>
                </a:lnTo>
                <a:lnTo>
                  <a:pt x="11020570" y="6295259"/>
                </a:lnTo>
                <a:lnTo>
                  <a:pt x="10985486" y="6447425"/>
                </a:lnTo>
                <a:lnTo>
                  <a:pt x="10984935" y="6447425"/>
                </a:lnTo>
                <a:lnTo>
                  <a:pt x="10950681" y="6295259"/>
                </a:lnTo>
                <a:close/>
                <a:moveTo>
                  <a:pt x="0" y="0"/>
                </a:moveTo>
                <a:lnTo>
                  <a:pt x="6079200" y="0"/>
                </a:lnTo>
                <a:lnTo>
                  <a:pt x="6900863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900863" y="6858000"/>
                </a:lnTo>
                <a:lnTo>
                  <a:pt x="6079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and insert image via Insert &gt;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720000"/>
            <a:ext cx="5555025" cy="25380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88F6B22-6D1C-409E-8BFD-F558291331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1950" y="3600000"/>
            <a:ext cx="2595563" cy="2898000"/>
          </a:xfrm>
        </p:spPr>
        <p:txBody>
          <a:bodyPr/>
          <a:lstStyle>
            <a:lvl1pPr marL="0" indent="0" defTabSz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00AF3C-09DE-4FAD-BDF6-DE397BE0F3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17876" y="3600000"/>
            <a:ext cx="2596888" cy="2898000"/>
          </a:xfrm>
        </p:spPr>
        <p:txBody>
          <a:bodyPr/>
          <a:lstStyle>
            <a:lvl1pPr marL="0" indent="0" defTabSz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5B3B08E-4718-4FB3-8AB8-C8B2E2ACAA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32712" y="3600000"/>
            <a:ext cx="2598926" cy="2520000"/>
          </a:xfrm>
        </p:spPr>
        <p:txBody>
          <a:bodyPr/>
          <a:lstStyle>
            <a:lvl1pPr marL="0" indent="0" defTabSz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D79923-6F9C-4EDE-9E95-10CB3051078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1CBF2D-A6CE-4D3D-9858-D44A4DBF0CC0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0416BB-00AC-4DD5-897B-F4EDB13370E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7E9903A-53AE-4B97-879C-5DBFEB00E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1461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 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7A11DC35-9D5C-4C6A-B5F6-47C47B8396B5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15D2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tx1"/>
              </a:solidFill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FE38C328-FFFB-41EE-903A-B0185EB130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C6368D57-E10C-46DE-A817-07DAEA2AE8C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85222" r="51868"/>
          <a:stretch>
            <a:fillRect/>
          </a:stretch>
        </p:blipFill>
        <p:spPr>
          <a:xfrm>
            <a:off x="1825985" y="0"/>
            <a:ext cx="10360017" cy="3180848"/>
          </a:xfrm>
          <a:custGeom>
            <a:avLst/>
            <a:gdLst>
              <a:gd name="connsiteX0" fmla="*/ 0 w 10360017"/>
              <a:gd name="connsiteY0" fmla="*/ 0 h 3180848"/>
              <a:gd name="connsiteX1" fmla="*/ 10360017 w 10360017"/>
              <a:gd name="connsiteY1" fmla="*/ 0 h 3180848"/>
              <a:gd name="connsiteX2" fmla="*/ 10360017 w 10360017"/>
              <a:gd name="connsiteY2" fmla="*/ 3180848 h 3180848"/>
              <a:gd name="connsiteX3" fmla="*/ 0 w 10360017"/>
              <a:gd name="connsiteY3" fmla="*/ 3180848 h 3180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60017" h="3180848">
                <a:moveTo>
                  <a:pt x="0" y="0"/>
                </a:moveTo>
                <a:lnTo>
                  <a:pt x="10360017" y="0"/>
                </a:lnTo>
                <a:lnTo>
                  <a:pt x="10360017" y="3180848"/>
                </a:lnTo>
                <a:lnTo>
                  <a:pt x="0" y="3180848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720000"/>
            <a:ext cx="5551200" cy="5777638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88F6B22-6D1C-409E-8BFD-F558291331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67600" y="3600000"/>
            <a:ext cx="2599200" cy="2520000"/>
          </a:xfrm>
        </p:spPr>
        <p:txBody>
          <a:bodyPr/>
          <a:lstStyle>
            <a:lvl1pPr marL="0" indent="0" defTabSz="0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00AF3C-09DE-4FAD-BDF6-DE397BE0F3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26800" y="3600000"/>
            <a:ext cx="2599200" cy="2520000"/>
          </a:xfrm>
        </p:spPr>
        <p:txBody>
          <a:bodyPr/>
          <a:lstStyle>
            <a:lvl1pPr marL="0" indent="0" defTabSz="0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D79923-6F9C-4EDE-9E95-10CB3051078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5ABD8B5-6983-4885-AF9F-48605B89CD13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0416BB-00AC-4DD5-897B-F4EDB13370E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7E9903A-53AE-4B97-879C-5DBFEB00E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69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A59914E-6CC7-4A80-9A35-C206A44D570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15D2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76" name="Graphic 75">
            <a:extLst>
              <a:ext uri="{FF2B5EF4-FFF2-40B4-BE49-F238E27FC236}">
                <a16:creationId xmlns:a16="http://schemas.microsoft.com/office/drawing/2014/main" id="{450425FF-2422-456E-89EE-EDA05D786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5222" r="51868"/>
          <a:stretch>
            <a:fillRect/>
          </a:stretch>
        </p:blipFill>
        <p:spPr>
          <a:xfrm>
            <a:off x="1825985" y="0"/>
            <a:ext cx="10360017" cy="3180848"/>
          </a:xfrm>
          <a:custGeom>
            <a:avLst/>
            <a:gdLst>
              <a:gd name="connsiteX0" fmla="*/ 0 w 10360017"/>
              <a:gd name="connsiteY0" fmla="*/ 0 h 3180848"/>
              <a:gd name="connsiteX1" fmla="*/ 10360017 w 10360017"/>
              <a:gd name="connsiteY1" fmla="*/ 0 h 3180848"/>
              <a:gd name="connsiteX2" fmla="*/ 10360017 w 10360017"/>
              <a:gd name="connsiteY2" fmla="*/ 3180848 h 3180848"/>
              <a:gd name="connsiteX3" fmla="*/ 0 w 10360017"/>
              <a:gd name="connsiteY3" fmla="*/ 3180848 h 3180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60017" h="3180848">
                <a:moveTo>
                  <a:pt x="0" y="0"/>
                </a:moveTo>
                <a:lnTo>
                  <a:pt x="10360017" y="0"/>
                </a:lnTo>
                <a:lnTo>
                  <a:pt x="10360017" y="3180848"/>
                </a:lnTo>
                <a:lnTo>
                  <a:pt x="0" y="3180848"/>
                </a:lnTo>
                <a:close/>
              </a:path>
            </a:pathLst>
          </a:cu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4ED45542-26E5-466E-A347-AF325180C1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5222" r="51868"/>
          <a:stretch>
            <a:fillRect/>
          </a:stretch>
        </p:blipFill>
        <p:spPr>
          <a:xfrm rot="10800000" flipH="1">
            <a:off x="1825985" y="3677151"/>
            <a:ext cx="10360017" cy="3180848"/>
          </a:xfrm>
          <a:custGeom>
            <a:avLst/>
            <a:gdLst>
              <a:gd name="connsiteX0" fmla="*/ 0 w 10360017"/>
              <a:gd name="connsiteY0" fmla="*/ 0 h 3180848"/>
              <a:gd name="connsiteX1" fmla="*/ 10360017 w 10360017"/>
              <a:gd name="connsiteY1" fmla="*/ 0 h 3180848"/>
              <a:gd name="connsiteX2" fmla="*/ 10360017 w 10360017"/>
              <a:gd name="connsiteY2" fmla="*/ 3180848 h 3180848"/>
              <a:gd name="connsiteX3" fmla="*/ 0 w 10360017"/>
              <a:gd name="connsiteY3" fmla="*/ 3180848 h 3180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60017" h="3180848">
                <a:moveTo>
                  <a:pt x="0" y="0"/>
                </a:moveTo>
                <a:lnTo>
                  <a:pt x="10360017" y="0"/>
                </a:lnTo>
                <a:lnTo>
                  <a:pt x="10360017" y="3180848"/>
                </a:lnTo>
                <a:lnTo>
                  <a:pt x="0" y="3180848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2160000"/>
            <a:ext cx="2597513" cy="3978000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r>
              <a:rPr lang="en-GB" noProof="0" dirty="0"/>
              <a:t>Click to add quote titl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09FF430-0C3E-44D6-AAE3-F9B2196ADD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7875" y="2160000"/>
            <a:ext cx="5554663" cy="3697200"/>
          </a:xfrm>
        </p:spPr>
        <p:txBody>
          <a:bodyPr anchor="t" anchorCtr="0"/>
          <a:lstStyle>
            <a:lvl1pPr marL="0" indent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quot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37B269AA-ADC5-473F-91F3-6B046198EF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5600" y="5716800"/>
            <a:ext cx="5540400" cy="360000"/>
          </a:xfrm>
        </p:spPr>
        <p:txBody>
          <a:bodyPr anchor="b"/>
          <a:lstStyle>
            <a:lvl1pPr marL="0" indent="0">
              <a:buNone/>
              <a:defRPr sz="1400">
                <a:latin typeface="+mj-lt"/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F1E51A6F-E5D0-454F-84B2-E2F3C42EAD7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2B0324C-A039-4DA9-A64C-21861C576F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9E81AD-EC15-4AD5-B096-C62287F3FAF9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1361D7-EFEF-4D5A-A85B-569EBF46AC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3C5BE49-EFEB-4248-8EEA-4E4B153269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735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C561FD5-F043-4AD1-B1D4-5A402A36ED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2593A4E-7F49-47DB-A7A6-202AE34E73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720000"/>
            <a:ext cx="5552400" cy="10800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2160000"/>
            <a:ext cx="5552400" cy="4338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9602" y="720000"/>
            <a:ext cx="5552036" cy="2718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173555-621B-4368-85A5-D9E165C763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9602" y="3780000"/>
            <a:ext cx="5552036" cy="2718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E98FB850-FB82-4BFB-9804-8994FC797D75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/>
          <a:p>
            <a:fld id="{3626060D-B6DC-4B7B-A8E7-2718D2A60F55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78950A0-9C85-49B3-834A-4CC59F92032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CFD8AA9C-93A9-4D69-B89F-3B6F47D1B6E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690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C561FD5-F043-4AD1-B1D4-5A402A36ED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E73573-F102-49DF-BC91-6C580916E2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720000"/>
            <a:ext cx="5548800" cy="10800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1950" y="2159999"/>
            <a:ext cx="2595563" cy="4336775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26750" y="2159274"/>
            <a:ext cx="2588050" cy="4336775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173555-621B-4368-85A5-D9E165C763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83202" y="720000"/>
            <a:ext cx="2584798" cy="2717904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68EC61-8561-4994-8A68-09675655FE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84036" y="3780000"/>
            <a:ext cx="2586364" cy="2717904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80BF4E0-B153-411A-B8D8-A592C7C565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233999" y="720000"/>
            <a:ext cx="2597639" cy="2717904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42111F8-D026-4080-A7D1-2BD64D26F37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241549" y="3780001"/>
            <a:ext cx="2597639" cy="2717904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400"/>
            </a:lvl4pPr>
            <a:lvl5pPr>
              <a:defRPr sz="14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5400"/>
            </a:lvl9pPr>
          </a:lstStyle>
          <a:p>
            <a:pPr lvl="0"/>
            <a:r>
              <a:rPr lang="en-GB" noProof="0" dirty="0"/>
              <a:t>Click to add text (Enter+TAB for next text level, SHIFT+TAB to go back in levels)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E98FB850-FB82-4BFB-9804-8994FC797D75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/>
          <a:p>
            <a:fld id="{D482492F-087A-4C2C-B810-760334A31827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78950A0-9C85-49B3-834A-4CC59F92032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CFD8AA9C-93A9-4D69-B89F-3B6F47D1B6E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53660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6F8603A-2356-484B-B741-9488EC206B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2796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6F8603A-2356-484B-B741-9488EC206B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81ECEA93-2870-4A60-9DF2-B544EAC1B7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50" y="674862"/>
            <a:ext cx="11471250" cy="578448"/>
          </a:xfrm>
          <a:prstGeom prst="rect">
            <a:avLst/>
          </a:prstGeo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C252E55-626F-42AE-BC92-8000534B1775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361950" y="1281196"/>
            <a:ext cx="11469688" cy="501552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6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A7118763-CF69-4565-B04B-63C9E730EE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18738" y="360000"/>
            <a:ext cx="1244624" cy="192091"/>
          </a:xfrm>
          <a:prstGeom prst="rect">
            <a:avLst/>
          </a:prstGeom>
        </p:spPr>
        <p:txBody>
          <a:bodyPr/>
          <a:lstStyle/>
          <a:p>
            <a:fld id="{77716C50-9109-4F8E-BA6C-292F5F15BEBC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4FAFA007-1B6D-454C-AF8B-F1044E692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1950" y="360000"/>
            <a:ext cx="3581400" cy="1920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E7EF70C6-CE91-4959-99A1-87610F0A9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4925" y="360000"/>
            <a:ext cx="366713" cy="192091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78DBC4-5AB4-4F00-952D-E8E5FAAC04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/>
          <a:p>
            <a:fld id="{147E912E-0380-46B8-B243-3FC72348D5EF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C91983-00E8-424B-B389-7DE321CA6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2AB89F-D8E8-44C4-B0A4-3354FEBB8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361950" y="358775"/>
            <a:ext cx="11469688" cy="74010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" y="1606550"/>
            <a:ext cx="2448000" cy="3662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endParaRPr lang="en-GB" sz="900" dirty="0">
              <a:latin typeface="+mn-lt"/>
              <a:ea typeface="Arial" panose="020B0604020202020204" pitchFamily="34" charset="0"/>
            </a:endParaRP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03713" y="1615901"/>
            <a:ext cx="2448000" cy="2723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47063" y="1606550"/>
            <a:ext cx="2448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Arial"/>
              </a:rPr>
              <a:t>⌘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54925" y="4943664"/>
            <a:ext cx="475428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01" t="45142" r="62601" b="9046"/>
          <a:stretch/>
        </p:blipFill>
        <p:spPr>
          <a:xfrm>
            <a:off x="6531769" y="1898939"/>
            <a:ext cx="341204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4925" y="4126669"/>
            <a:ext cx="328881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757623" y="3393514"/>
            <a:ext cx="53846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607913" y="2617419"/>
            <a:ext cx="313788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88186" y="2144296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C8F77785-DAC9-4046-8A82-0AC40734117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B177EDC0-E928-49C1-8E0D-73329E2F0BB3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9675D1FD-FB10-4317-AAF4-BDCB2224F10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10" hidden="1">
            <a:extLst>
              <a:ext uri="{FF2B5EF4-FFF2-40B4-BE49-F238E27FC236}">
                <a16:creationId xmlns:a16="http://schemas.microsoft.com/office/drawing/2014/main" id="{BBF7E881-962B-4385-8C0A-994D3D771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754925" y="2682224"/>
            <a:ext cx="457143" cy="2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3977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4AFFD0C-C438-411A-A787-877D0328F8C8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SP Agenda Section" hidden="1"/>
          <p:cNvGrpSpPr/>
          <p:nvPr userDrawn="1"/>
        </p:nvGrpSpPr>
        <p:grpSpPr>
          <a:xfrm>
            <a:off x="1797664" y="2085631"/>
            <a:ext cx="8657275" cy="369332"/>
            <a:chOff x="1797664" y="2085631"/>
            <a:chExt cx="8657274" cy="369332"/>
          </a:xfrm>
        </p:grpSpPr>
        <p:sp>
          <p:nvSpPr>
            <p:cNvPr id="20" name="Section Title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Section Number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N&gt;</a:t>
              </a:r>
            </a:p>
          </p:txBody>
        </p:sp>
        <p:sp>
          <p:nvSpPr>
            <p:cNvPr id="22" name="Slide Number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4" name="Timeslot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8" name="Responsible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9" name="Duration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Section Title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/>
                <a:t>&lt;TEXT&gt;</a:t>
              </a:r>
            </a:p>
          </p:txBody>
        </p:sp>
        <p:sp>
          <p:nvSpPr>
            <p:cNvPr id="33" name="Section Number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/>
                <a:t>&lt;N&gt;</a:t>
              </a:r>
            </a:p>
          </p:txBody>
        </p:sp>
        <p:sp>
          <p:nvSpPr>
            <p:cNvPr id="34" name="Slide Number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/>
                <a:t>&lt;P&gt;</a:t>
              </a:r>
            </a:p>
          </p:txBody>
        </p:sp>
        <p:sp>
          <p:nvSpPr>
            <p:cNvPr id="35" name="Timeslot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TIMESLOT&gt;</a:t>
              </a:r>
            </a:p>
          </p:txBody>
        </p:sp>
        <p:sp>
          <p:nvSpPr>
            <p:cNvPr id="36" name="Responsible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RESPONSIBLE&gt;</a:t>
              </a:r>
            </a:p>
          </p:txBody>
        </p:sp>
        <p:sp>
          <p:nvSpPr>
            <p:cNvPr id="37" name="Duration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5805" y="3148295"/>
            <a:ext cx="8189135" cy="369332"/>
            <a:chOff x="2265804" y="3155687"/>
            <a:chExt cx="8189134" cy="369332"/>
          </a:xfrm>
        </p:grpSpPr>
        <p:sp>
          <p:nvSpPr>
            <p:cNvPr id="39" name="Section Title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40" name="Section Number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N&gt;</a:t>
              </a:r>
            </a:p>
          </p:txBody>
        </p:sp>
        <p:sp>
          <p:nvSpPr>
            <p:cNvPr id="41" name="Slide Number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42" name="Timeslot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43" name="Responsible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44" name="Duration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Section Title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/>
                <a:t>&lt;TEXT&gt;</a:t>
              </a:r>
            </a:p>
          </p:txBody>
        </p:sp>
        <p:sp>
          <p:nvSpPr>
            <p:cNvPr id="47" name="Section Number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/>
                <a:t>&lt;N&gt;</a:t>
              </a:r>
            </a:p>
          </p:txBody>
        </p:sp>
        <p:sp>
          <p:nvSpPr>
            <p:cNvPr id="48" name="Slide Number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/>
                <a:t>&lt;P&gt;</a:t>
              </a:r>
            </a:p>
          </p:txBody>
        </p:sp>
        <p:sp>
          <p:nvSpPr>
            <p:cNvPr id="49" name="Timeslot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TIMESLOT&gt;</a:t>
              </a:r>
            </a:p>
          </p:txBody>
        </p:sp>
        <p:sp>
          <p:nvSpPr>
            <p:cNvPr id="50" name="Responsible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RESPONSIBLE&gt;</a:t>
              </a:r>
            </a:p>
          </p:txBody>
        </p:sp>
        <p:sp>
          <p:nvSpPr>
            <p:cNvPr id="51" name="Duration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3D69974-535A-6B55-0AF3-CD9D61759FAA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218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43BB21-5387-45DC-8CBB-FEC245D8A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676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43BB21-5387-45DC-8CBB-FEC245D8A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A0C67C3-09B1-41EF-A4A9-DC60FD51BBF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7979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4C975768-4604-452D-819F-0E99C46687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774" t="84329"/>
          <a:stretch>
            <a:fillRect/>
          </a:stretch>
        </p:blipFill>
        <p:spPr>
          <a:xfrm>
            <a:off x="0" y="0"/>
            <a:ext cx="9820282" cy="3126216"/>
          </a:xfrm>
          <a:custGeom>
            <a:avLst/>
            <a:gdLst>
              <a:gd name="connsiteX0" fmla="*/ 0 w 9820282"/>
              <a:gd name="connsiteY0" fmla="*/ 0 h 3126216"/>
              <a:gd name="connsiteX1" fmla="*/ 9820282 w 9820282"/>
              <a:gd name="connsiteY1" fmla="*/ 0 h 3126216"/>
              <a:gd name="connsiteX2" fmla="*/ 9820282 w 9820282"/>
              <a:gd name="connsiteY2" fmla="*/ 3126216 h 3126216"/>
              <a:gd name="connsiteX3" fmla="*/ 0 w 9820282"/>
              <a:gd name="connsiteY3" fmla="*/ 3126216 h 312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20282" h="3126216">
                <a:moveTo>
                  <a:pt x="0" y="0"/>
                </a:moveTo>
                <a:lnTo>
                  <a:pt x="9820282" y="0"/>
                </a:lnTo>
                <a:lnTo>
                  <a:pt x="9820282" y="3126216"/>
                </a:lnTo>
                <a:lnTo>
                  <a:pt x="0" y="3126216"/>
                </a:lnTo>
                <a:close/>
              </a:path>
            </a:pathLst>
          </a:custGeom>
        </p:spPr>
      </p:pic>
      <p:sp>
        <p:nvSpPr>
          <p:cNvPr id="143" name="Slide Number Placeholder 142" hidden="1">
            <a:extLst>
              <a:ext uri="{FF2B5EF4-FFF2-40B4-BE49-F238E27FC236}">
                <a16:creationId xmlns:a16="http://schemas.microsoft.com/office/drawing/2014/main" id="{F5A55695-81EF-49A8-9F93-D616792E9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4" name="Footer Placeholder 141" hidden="1">
            <a:extLst>
              <a:ext uri="{FF2B5EF4-FFF2-40B4-BE49-F238E27FC236}">
                <a16:creationId xmlns:a16="http://schemas.microsoft.com/office/drawing/2014/main" id="{690B4BF8-A412-4AB6-A1CE-DC210C82C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anchor="b" anchorCtr="0"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ED23883-4AD0-494B-9500-37CC0D5CC76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  <p:sp>
        <p:nvSpPr>
          <p:cNvPr id="16" name="Date Placeholder 140">
            <a:extLst>
              <a:ext uri="{FF2B5EF4-FFF2-40B4-BE49-F238E27FC236}">
                <a16:creationId xmlns:a16="http://schemas.microsoft.com/office/drawing/2014/main" id="{1E0C94D9-B175-41B0-A463-9D18AE8EB48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1950" y="6136930"/>
            <a:ext cx="1968500" cy="360000"/>
          </a:xfrm>
          <a:prstGeom prst="rect">
            <a:avLst/>
          </a:prstGeom>
        </p:spPr>
        <p:txBody>
          <a:bodyPr anchor="b" anchorCtr="0"/>
          <a:lstStyle>
            <a:lvl1pPr algn="l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8CE53BF-A2B6-4C53-ADC8-0614C4897278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B5235-FC87-49CB-A8AD-B7011291EA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39204" y="720000"/>
            <a:ext cx="7874576" cy="3258000"/>
          </a:xfrm>
          <a:prstGeom prst="rect">
            <a:avLst/>
          </a:prstGeo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89D049EE-3BE0-499D-99DB-A289D8D605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27080" y="4157190"/>
            <a:ext cx="7886700" cy="720000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0F471EC-4F37-4977-9032-6D34352153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27079" y="6136930"/>
            <a:ext cx="7886700" cy="36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5757576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4761" y="4096092"/>
            <a:ext cx="10080000" cy="369332"/>
            <a:chOff x="1797664" y="2085631"/>
            <a:chExt cx="5940745" cy="369332"/>
          </a:xfrm>
        </p:grpSpPr>
        <p:sp>
          <p:nvSpPr>
            <p:cNvPr id="72" name="Section Title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Section Number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Slide Number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imeslot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Responsible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Duration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4761" y="4096092"/>
            <a:ext cx="10080000" cy="369332"/>
            <a:chOff x="1797664" y="2085631"/>
            <a:chExt cx="5940745" cy="369332"/>
          </a:xfrm>
        </p:grpSpPr>
        <p:sp>
          <p:nvSpPr>
            <p:cNvPr id="79" name="Section Title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Section Number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Slide Number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imeslot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Responsible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Duration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6335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D66237D-1F76-44D8-83B2-A2C7E43615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2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D66237D-1F76-44D8-83B2-A2C7E43615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3163C43-894F-439F-AD09-EF5C8859AD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587250 w 12192000"/>
              <a:gd name="connsiteY0" fmla="*/ 6372860 h 6858000"/>
              <a:gd name="connsiteX1" fmla="*/ 11622324 w 12192000"/>
              <a:gd name="connsiteY1" fmla="*/ 6406554 h 6858000"/>
              <a:gd name="connsiteX2" fmla="*/ 11550796 w 12192000"/>
              <a:gd name="connsiteY2" fmla="*/ 6406554 h 6858000"/>
              <a:gd name="connsiteX3" fmla="*/ 11587250 w 12192000"/>
              <a:gd name="connsiteY3" fmla="*/ 6372860 h 6858000"/>
              <a:gd name="connsiteX4" fmla="*/ 11232377 w 12192000"/>
              <a:gd name="connsiteY4" fmla="*/ 6372860 h 6858000"/>
              <a:gd name="connsiteX5" fmla="*/ 11267451 w 12192000"/>
              <a:gd name="connsiteY5" fmla="*/ 6406554 h 6858000"/>
              <a:gd name="connsiteX6" fmla="*/ 11195926 w 12192000"/>
              <a:gd name="connsiteY6" fmla="*/ 6406554 h 6858000"/>
              <a:gd name="connsiteX7" fmla="*/ 11232377 w 12192000"/>
              <a:gd name="connsiteY7" fmla="*/ 6372860 h 6858000"/>
              <a:gd name="connsiteX8" fmla="*/ 11738583 w 12192000"/>
              <a:gd name="connsiteY8" fmla="*/ 6345815 h 6858000"/>
              <a:gd name="connsiteX9" fmla="*/ 11668160 w 12192000"/>
              <a:gd name="connsiteY9" fmla="*/ 6422586 h 6858000"/>
              <a:gd name="connsiteX10" fmla="*/ 11737478 w 12192000"/>
              <a:gd name="connsiteY10" fmla="*/ 6496321 h 6858000"/>
              <a:gd name="connsiteX11" fmla="*/ 11737485 w 12192000"/>
              <a:gd name="connsiteY11" fmla="*/ 6496311 h 6858000"/>
              <a:gd name="connsiteX12" fmla="*/ 11801277 w 12192000"/>
              <a:gd name="connsiteY12" fmla="*/ 6444671 h 6858000"/>
              <a:gd name="connsiteX13" fmla="*/ 11770359 w 12192000"/>
              <a:gd name="connsiteY13" fmla="*/ 6444671 h 6858000"/>
              <a:gd name="connsiteX14" fmla="*/ 11737495 w 12192000"/>
              <a:gd name="connsiteY14" fmla="*/ 6469252 h 6858000"/>
              <a:gd name="connsiteX15" fmla="*/ 11700765 w 12192000"/>
              <a:gd name="connsiteY15" fmla="*/ 6422579 h 6858000"/>
              <a:gd name="connsiteX16" fmla="*/ 11738875 w 12192000"/>
              <a:gd name="connsiteY16" fmla="*/ 6372867 h 6858000"/>
              <a:gd name="connsiteX17" fmla="*/ 11769254 w 12192000"/>
              <a:gd name="connsiteY17" fmla="*/ 6400209 h 6858000"/>
              <a:gd name="connsiteX18" fmla="*/ 11801270 w 12192000"/>
              <a:gd name="connsiteY18" fmla="*/ 6400209 h 6858000"/>
              <a:gd name="connsiteX19" fmla="*/ 11738583 w 12192000"/>
              <a:gd name="connsiteY19" fmla="*/ 6345815 h 6858000"/>
              <a:gd name="connsiteX20" fmla="*/ 11587512 w 12192000"/>
              <a:gd name="connsiteY20" fmla="*/ 6345804 h 6858000"/>
              <a:gd name="connsiteX21" fmla="*/ 11518197 w 12192000"/>
              <a:gd name="connsiteY21" fmla="*/ 6421199 h 6858000"/>
              <a:gd name="connsiteX22" fmla="*/ 11588083 w 12192000"/>
              <a:gd name="connsiteY22" fmla="*/ 6496314 h 6858000"/>
              <a:gd name="connsiteX23" fmla="*/ 11588066 w 12192000"/>
              <a:gd name="connsiteY23" fmla="*/ 6496321 h 6858000"/>
              <a:gd name="connsiteX24" fmla="*/ 11652688 w 12192000"/>
              <a:gd name="connsiteY24" fmla="*/ 6448812 h 6858000"/>
              <a:gd name="connsiteX25" fmla="*/ 11621756 w 12192000"/>
              <a:gd name="connsiteY25" fmla="*/ 6448812 h 6858000"/>
              <a:gd name="connsiteX26" fmla="*/ 11588066 w 12192000"/>
              <a:gd name="connsiteY26" fmla="*/ 6469252 h 6858000"/>
              <a:gd name="connsiteX27" fmla="*/ 11550782 w 12192000"/>
              <a:gd name="connsiteY27" fmla="*/ 6429206 h 6858000"/>
              <a:gd name="connsiteX28" fmla="*/ 11654620 w 12192000"/>
              <a:gd name="connsiteY28" fmla="*/ 6429206 h 6858000"/>
              <a:gd name="connsiteX29" fmla="*/ 11587512 w 12192000"/>
              <a:gd name="connsiteY29" fmla="*/ 6345804 h 6858000"/>
              <a:gd name="connsiteX30" fmla="*/ 11232656 w 12192000"/>
              <a:gd name="connsiteY30" fmla="*/ 6345794 h 6858000"/>
              <a:gd name="connsiteX31" fmla="*/ 11163338 w 12192000"/>
              <a:gd name="connsiteY31" fmla="*/ 6421188 h 6858000"/>
              <a:gd name="connsiteX32" fmla="*/ 11233206 w 12192000"/>
              <a:gd name="connsiteY32" fmla="*/ 6496311 h 6858000"/>
              <a:gd name="connsiteX33" fmla="*/ 11297829 w 12192000"/>
              <a:gd name="connsiteY33" fmla="*/ 6448802 h 6858000"/>
              <a:gd name="connsiteX34" fmla="*/ 11266900 w 12192000"/>
              <a:gd name="connsiteY34" fmla="*/ 6448802 h 6858000"/>
              <a:gd name="connsiteX35" fmla="*/ 11233206 w 12192000"/>
              <a:gd name="connsiteY35" fmla="*/ 6469241 h 6858000"/>
              <a:gd name="connsiteX36" fmla="*/ 11195926 w 12192000"/>
              <a:gd name="connsiteY36" fmla="*/ 6429196 h 6858000"/>
              <a:gd name="connsiteX37" fmla="*/ 11299763 w 12192000"/>
              <a:gd name="connsiteY37" fmla="*/ 6429196 h 6858000"/>
              <a:gd name="connsiteX38" fmla="*/ 11232656 w 12192000"/>
              <a:gd name="connsiteY38" fmla="*/ 6345794 h 6858000"/>
              <a:gd name="connsiteX39" fmla="*/ 11804992 w 12192000"/>
              <a:gd name="connsiteY39" fmla="*/ 6308754 h 6858000"/>
              <a:gd name="connsiteX40" fmla="*/ 11812170 w 12192000"/>
              <a:gd name="connsiteY40" fmla="*/ 6308754 h 6858000"/>
              <a:gd name="connsiteX41" fmla="*/ 11816036 w 12192000"/>
              <a:gd name="connsiteY41" fmla="*/ 6312345 h 6858000"/>
              <a:gd name="connsiteX42" fmla="*/ 11812170 w 12192000"/>
              <a:gd name="connsiteY42" fmla="*/ 6315660 h 6858000"/>
              <a:gd name="connsiteX43" fmla="*/ 11804992 w 12192000"/>
              <a:gd name="connsiteY43" fmla="*/ 6315660 h 6858000"/>
              <a:gd name="connsiteX44" fmla="*/ 11451664 w 12192000"/>
              <a:gd name="connsiteY44" fmla="*/ 6306857 h 6858000"/>
              <a:gd name="connsiteX45" fmla="*/ 11451664 w 12192000"/>
              <a:gd name="connsiteY45" fmla="*/ 6349653 h 6858000"/>
              <a:gd name="connsiteX46" fmla="*/ 11430123 w 12192000"/>
              <a:gd name="connsiteY46" fmla="*/ 6349653 h 6858000"/>
              <a:gd name="connsiteX47" fmla="*/ 11430123 w 12192000"/>
              <a:gd name="connsiteY47" fmla="*/ 6373129 h 6858000"/>
              <a:gd name="connsiteX48" fmla="*/ 11451664 w 12192000"/>
              <a:gd name="connsiteY48" fmla="*/ 6373129 h 6858000"/>
              <a:gd name="connsiteX49" fmla="*/ 11451664 w 12192000"/>
              <a:gd name="connsiteY49" fmla="*/ 6453226 h 6858000"/>
              <a:gd name="connsiteX50" fmla="*/ 11491709 w 12192000"/>
              <a:gd name="connsiteY50" fmla="*/ 6494097 h 6858000"/>
              <a:gd name="connsiteX51" fmla="*/ 11510486 w 12192000"/>
              <a:gd name="connsiteY51" fmla="*/ 6492441 h 6858000"/>
              <a:gd name="connsiteX52" fmla="*/ 11510486 w 12192000"/>
              <a:gd name="connsiteY52" fmla="*/ 6468140 h 6858000"/>
              <a:gd name="connsiteX53" fmla="*/ 11497231 w 12192000"/>
              <a:gd name="connsiteY53" fmla="*/ 6469245 h 6858000"/>
              <a:gd name="connsiteX54" fmla="*/ 11482042 w 12192000"/>
              <a:gd name="connsiteY54" fmla="*/ 6453226 h 6858000"/>
              <a:gd name="connsiteX55" fmla="*/ 11482042 w 12192000"/>
              <a:gd name="connsiteY55" fmla="*/ 6373139 h 6858000"/>
              <a:gd name="connsiteX56" fmla="*/ 11510486 w 12192000"/>
              <a:gd name="connsiteY56" fmla="*/ 6373139 h 6858000"/>
              <a:gd name="connsiteX57" fmla="*/ 11510486 w 12192000"/>
              <a:gd name="connsiteY57" fmla="*/ 6349653 h 6858000"/>
              <a:gd name="connsiteX58" fmla="*/ 11482042 w 12192000"/>
              <a:gd name="connsiteY58" fmla="*/ 6349653 h 6858000"/>
              <a:gd name="connsiteX59" fmla="*/ 11482042 w 12192000"/>
              <a:gd name="connsiteY59" fmla="*/ 6306857 h 6858000"/>
              <a:gd name="connsiteX60" fmla="*/ 11801136 w 12192000"/>
              <a:gd name="connsiteY60" fmla="*/ 6305439 h 6858000"/>
              <a:gd name="connsiteX61" fmla="*/ 11801136 w 12192000"/>
              <a:gd name="connsiteY61" fmla="*/ 6328915 h 6858000"/>
              <a:gd name="connsiteX62" fmla="*/ 11805002 w 12192000"/>
              <a:gd name="connsiteY62" fmla="*/ 6328915 h 6858000"/>
              <a:gd name="connsiteX63" fmla="*/ 11805002 w 12192000"/>
              <a:gd name="connsiteY63" fmla="*/ 6318972 h 6858000"/>
              <a:gd name="connsiteX64" fmla="*/ 11810800 w 12192000"/>
              <a:gd name="connsiteY64" fmla="*/ 6318972 h 6858000"/>
              <a:gd name="connsiteX65" fmla="*/ 11816046 w 12192000"/>
              <a:gd name="connsiteY65" fmla="*/ 6323668 h 6858000"/>
              <a:gd name="connsiteX66" fmla="*/ 11816325 w 12192000"/>
              <a:gd name="connsiteY66" fmla="*/ 6328915 h 6858000"/>
              <a:gd name="connsiteX67" fmla="*/ 11820191 w 12192000"/>
              <a:gd name="connsiteY67" fmla="*/ 6328915 h 6858000"/>
              <a:gd name="connsiteX68" fmla="*/ 11819637 w 12192000"/>
              <a:gd name="connsiteY68" fmla="*/ 6322287 h 6858000"/>
              <a:gd name="connsiteX69" fmla="*/ 11816325 w 12192000"/>
              <a:gd name="connsiteY69" fmla="*/ 6317592 h 6858000"/>
              <a:gd name="connsiteX70" fmla="*/ 11819912 w 12192000"/>
              <a:gd name="connsiteY70" fmla="*/ 6311794 h 6858000"/>
              <a:gd name="connsiteX71" fmla="*/ 11812180 w 12192000"/>
              <a:gd name="connsiteY71" fmla="*/ 6305439 h 6858000"/>
              <a:gd name="connsiteX72" fmla="*/ 11809849 w 12192000"/>
              <a:gd name="connsiteY72" fmla="*/ 6299125 h 6858000"/>
              <a:gd name="connsiteX73" fmla="*/ 11827799 w 12192000"/>
              <a:gd name="connsiteY73" fmla="*/ 6317075 h 6858000"/>
              <a:gd name="connsiteX74" fmla="*/ 11809849 w 12192000"/>
              <a:gd name="connsiteY74" fmla="*/ 6335025 h 6858000"/>
              <a:gd name="connsiteX75" fmla="*/ 11791899 w 12192000"/>
              <a:gd name="connsiteY75" fmla="*/ 6317075 h 6858000"/>
              <a:gd name="connsiteX76" fmla="*/ 11809849 w 12192000"/>
              <a:gd name="connsiteY76" fmla="*/ 6299125 h 6858000"/>
              <a:gd name="connsiteX77" fmla="*/ 11809839 w 12192000"/>
              <a:gd name="connsiteY77" fmla="*/ 6295259 h 6858000"/>
              <a:gd name="connsiteX78" fmla="*/ 11788023 w 12192000"/>
              <a:gd name="connsiteY78" fmla="*/ 6317075 h 6858000"/>
              <a:gd name="connsiteX79" fmla="*/ 11809839 w 12192000"/>
              <a:gd name="connsiteY79" fmla="*/ 6338895 h 6858000"/>
              <a:gd name="connsiteX80" fmla="*/ 11809849 w 12192000"/>
              <a:gd name="connsiteY80" fmla="*/ 6338895 h 6858000"/>
              <a:gd name="connsiteX81" fmla="*/ 11831666 w 12192000"/>
              <a:gd name="connsiteY81" fmla="*/ 6317075 h 6858000"/>
              <a:gd name="connsiteX82" fmla="*/ 11809839 w 12192000"/>
              <a:gd name="connsiteY82" fmla="*/ 6295259 h 6858000"/>
              <a:gd name="connsiteX83" fmla="*/ 11384271 w 12192000"/>
              <a:gd name="connsiteY83" fmla="*/ 6295259 h 6858000"/>
              <a:gd name="connsiteX84" fmla="*/ 11384271 w 12192000"/>
              <a:gd name="connsiteY84" fmla="*/ 6492992 h 6858000"/>
              <a:gd name="connsiteX85" fmla="*/ 11416029 w 12192000"/>
              <a:gd name="connsiteY85" fmla="*/ 6492992 h 6858000"/>
              <a:gd name="connsiteX86" fmla="*/ 11416029 w 12192000"/>
              <a:gd name="connsiteY86" fmla="*/ 6295259 h 6858000"/>
              <a:gd name="connsiteX87" fmla="*/ 11321855 w 12192000"/>
              <a:gd name="connsiteY87" fmla="*/ 6295259 h 6858000"/>
              <a:gd name="connsiteX88" fmla="*/ 11321855 w 12192000"/>
              <a:gd name="connsiteY88" fmla="*/ 6492992 h 6858000"/>
              <a:gd name="connsiteX89" fmla="*/ 11353338 w 12192000"/>
              <a:gd name="connsiteY89" fmla="*/ 6492992 h 6858000"/>
              <a:gd name="connsiteX90" fmla="*/ 11353338 w 12192000"/>
              <a:gd name="connsiteY90" fmla="*/ 6295259 h 6858000"/>
              <a:gd name="connsiteX91" fmla="*/ 10914512 w 12192000"/>
              <a:gd name="connsiteY91" fmla="*/ 6295259 h 6858000"/>
              <a:gd name="connsiteX92" fmla="*/ 10965050 w 12192000"/>
              <a:gd name="connsiteY92" fmla="*/ 6492441 h 6858000"/>
              <a:gd name="connsiteX93" fmla="*/ 11004817 w 12192000"/>
              <a:gd name="connsiteY93" fmla="*/ 6492441 h 6858000"/>
              <a:gd name="connsiteX94" fmla="*/ 11041825 w 12192000"/>
              <a:gd name="connsiteY94" fmla="*/ 6338898 h 6858000"/>
              <a:gd name="connsiteX95" fmla="*/ 11042376 w 12192000"/>
              <a:gd name="connsiteY95" fmla="*/ 6338898 h 6858000"/>
              <a:gd name="connsiteX96" fmla="*/ 11079381 w 12192000"/>
              <a:gd name="connsiteY96" fmla="*/ 6492441 h 6858000"/>
              <a:gd name="connsiteX97" fmla="*/ 11117495 w 12192000"/>
              <a:gd name="connsiteY97" fmla="*/ 6492441 h 6858000"/>
              <a:gd name="connsiteX98" fmla="*/ 11168033 w 12192000"/>
              <a:gd name="connsiteY98" fmla="*/ 6295259 h 6858000"/>
              <a:gd name="connsiteX99" fmla="*/ 11134075 w 12192000"/>
              <a:gd name="connsiteY99" fmla="*/ 6295259 h 6858000"/>
              <a:gd name="connsiteX100" fmla="*/ 11099820 w 12192000"/>
              <a:gd name="connsiteY100" fmla="*/ 6447425 h 6858000"/>
              <a:gd name="connsiteX101" fmla="*/ 11099266 w 12192000"/>
              <a:gd name="connsiteY101" fmla="*/ 6447425 h 6858000"/>
              <a:gd name="connsiteX102" fmla="*/ 11064182 w 12192000"/>
              <a:gd name="connsiteY102" fmla="*/ 6295259 h 6858000"/>
              <a:gd name="connsiteX103" fmla="*/ 11020570 w 12192000"/>
              <a:gd name="connsiteY103" fmla="*/ 6295259 h 6858000"/>
              <a:gd name="connsiteX104" fmla="*/ 10985486 w 12192000"/>
              <a:gd name="connsiteY104" fmla="*/ 6447425 h 6858000"/>
              <a:gd name="connsiteX105" fmla="*/ 10984935 w 12192000"/>
              <a:gd name="connsiteY105" fmla="*/ 6447425 h 6858000"/>
              <a:gd name="connsiteX106" fmla="*/ 10950681 w 12192000"/>
              <a:gd name="connsiteY106" fmla="*/ 6295259 h 6858000"/>
              <a:gd name="connsiteX107" fmla="*/ 0 w 12192000"/>
              <a:gd name="connsiteY107" fmla="*/ 0 h 6858000"/>
              <a:gd name="connsiteX108" fmla="*/ 12192000 w 12192000"/>
              <a:gd name="connsiteY108" fmla="*/ 0 h 6858000"/>
              <a:gd name="connsiteX109" fmla="*/ 12192000 w 12192000"/>
              <a:gd name="connsiteY109" fmla="*/ 6858000 h 6858000"/>
              <a:gd name="connsiteX110" fmla="*/ 0 w 12192000"/>
              <a:gd name="connsiteY1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12192000" h="6858000">
                <a:moveTo>
                  <a:pt x="11587250" y="6372860"/>
                </a:moveTo>
                <a:cubicBezTo>
                  <a:pt x="11608791" y="6372860"/>
                  <a:pt x="11620947" y="6388604"/>
                  <a:pt x="11622324" y="6406554"/>
                </a:cubicBezTo>
                <a:lnTo>
                  <a:pt x="11550796" y="6406554"/>
                </a:lnTo>
                <a:cubicBezTo>
                  <a:pt x="11553281" y="6389154"/>
                  <a:pt x="11565709" y="6372860"/>
                  <a:pt x="11587250" y="6372860"/>
                </a:cubicBezTo>
                <a:close/>
                <a:moveTo>
                  <a:pt x="11232377" y="6372860"/>
                </a:moveTo>
                <a:cubicBezTo>
                  <a:pt x="11253917" y="6372860"/>
                  <a:pt x="11266070" y="6388604"/>
                  <a:pt x="11267451" y="6406554"/>
                </a:cubicBezTo>
                <a:lnTo>
                  <a:pt x="11195926" y="6406554"/>
                </a:lnTo>
                <a:cubicBezTo>
                  <a:pt x="11198411" y="6389154"/>
                  <a:pt x="11210836" y="6372860"/>
                  <a:pt x="11232377" y="6372860"/>
                </a:cubicBezTo>
                <a:close/>
                <a:moveTo>
                  <a:pt x="11738583" y="6345815"/>
                </a:moveTo>
                <a:cubicBezTo>
                  <a:pt x="11691635" y="6345815"/>
                  <a:pt x="11668160" y="6379508"/>
                  <a:pt x="11668160" y="6422586"/>
                </a:cubicBezTo>
                <a:cubicBezTo>
                  <a:pt x="11668160" y="6464563"/>
                  <a:pt x="11692740" y="6496321"/>
                  <a:pt x="11737478" y="6496321"/>
                </a:cubicBezTo>
                <a:lnTo>
                  <a:pt x="11737485" y="6496311"/>
                </a:lnTo>
                <a:cubicBezTo>
                  <a:pt x="11771178" y="6496311"/>
                  <a:pt x="11794633" y="6478361"/>
                  <a:pt x="11801277" y="6444671"/>
                </a:cubicBezTo>
                <a:lnTo>
                  <a:pt x="11770359" y="6444671"/>
                </a:lnTo>
                <a:cubicBezTo>
                  <a:pt x="11767043" y="6460414"/>
                  <a:pt x="11757655" y="6469252"/>
                  <a:pt x="11737495" y="6469252"/>
                </a:cubicBezTo>
                <a:cubicBezTo>
                  <a:pt x="11710986" y="6469252"/>
                  <a:pt x="11700765" y="6446330"/>
                  <a:pt x="11700765" y="6422579"/>
                </a:cubicBezTo>
                <a:cubicBezTo>
                  <a:pt x="11700765" y="6379498"/>
                  <a:pt x="11723411" y="6372867"/>
                  <a:pt x="11738875" y="6372867"/>
                </a:cubicBezTo>
                <a:cubicBezTo>
                  <a:pt x="11754619" y="6372867"/>
                  <a:pt x="11766761" y="6382534"/>
                  <a:pt x="11769254" y="6400209"/>
                </a:cubicBezTo>
                <a:lnTo>
                  <a:pt x="11801270" y="6400209"/>
                </a:lnTo>
                <a:cubicBezTo>
                  <a:pt x="11798234" y="6365135"/>
                  <a:pt x="11770066" y="6345815"/>
                  <a:pt x="11738583" y="6345815"/>
                </a:cubicBezTo>
                <a:close/>
                <a:moveTo>
                  <a:pt x="11587512" y="6345804"/>
                </a:moveTo>
                <a:cubicBezTo>
                  <a:pt x="11544985" y="6345804"/>
                  <a:pt x="11518197" y="6380603"/>
                  <a:pt x="11518197" y="6421199"/>
                </a:cubicBezTo>
                <a:cubicBezTo>
                  <a:pt x="11518197" y="6465385"/>
                  <a:pt x="11543050" y="6496314"/>
                  <a:pt x="11588083" y="6496314"/>
                </a:cubicBezTo>
                <a:lnTo>
                  <a:pt x="11588066" y="6496321"/>
                </a:lnTo>
                <a:cubicBezTo>
                  <a:pt x="11618995" y="6496321"/>
                  <a:pt x="11646061" y="6478922"/>
                  <a:pt x="11652688" y="6448812"/>
                </a:cubicBezTo>
                <a:lnTo>
                  <a:pt x="11621756" y="6448812"/>
                </a:lnTo>
                <a:cubicBezTo>
                  <a:pt x="11617064" y="6462900"/>
                  <a:pt x="11606292" y="6469252"/>
                  <a:pt x="11588066" y="6469252"/>
                </a:cubicBezTo>
                <a:cubicBezTo>
                  <a:pt x="11562659" y="6469252"/>
                  <a:pt x="11551336" y="6449367"/>
                  <a:pt x="11550782" y="6429206"/>
                </a:cubicBezTo>
                <a:lnTo>
                  <a:pt x="11654620" y="6429206"/>
                </a:lnTo>
                <a:cubicBezTo>
                  <a:pt x="11658210" y="6385295"/>
                  <a:pt x="11633079" y="6345804"/>
                  <a:pt x="11587512" y="6345804"/>
                </a:cubicBezTo>
                <a:close/>
                <a:moveTo>
                  <a:pt x="11232656" y="6345794"/>
                </a:moveTo>
                <a:cubicBezTo>
                  <a:pt x="11190125" y="6345794"/>
                  <a:pt x="11163338" y="6380592"/>
                  <a:pt x="11163338" y="6421188"/>
                </a:cubicBezTo>
                <a:cubicBezTo>
                  <a:pt x="11163338" y="6465379"/>
                  <a:pt x="11188204" y="6496311"/>
                  <a:pt x="11233206" y="6496311"/>
                </a:cubicBezTo>
                <a:cubicBezTo>
                  <a:pt x="11264139" y="6496311"/>
                  <a:pt x="11291202" y="6478912"/>
                  <a:pt x="11297829" y="6448802"/>
                </a:cubicBezTo>
                <a:lnTo>
                  <a:pt x="11266900" y="6448802"/>
                </a:lnTo>
                <a:cubicBezTo>
                  <a:pt x="11262204" y="6462890"/>
                  <a:pt x="11251435" y="6469241"/>
                  <a:pt x="11233206" y="6469241"/>
                </a:cubicBezTo>
                <a:cubicBezTo>
                  <a:pt x="11207800" y="6469241"/>
                  <a:pt x="11196477" y="6449356"/>
                  <a:pt x="11195926" y="6429196"/>
                </a:cubicBezTo>
                <a:lnTo>
                  <a:pt x="11299763" y="6429196"/>
                </a:lnTo>
                <a:cubicBezTo>
                  <a:pt x="11303354" y="6385285"/>
                  <a:pt x="11278223" y="6345794"/>
                  <a:pt x="11232656" y="6345794"/>
                </a:cubicBezTo>
                <a:close/>
                <a:moveTo>
                  <a:pt x="11804992" y="6308754"/>
                </a:moveTo>
                <a:lnTo>
                  <a:pt x="11812170" y="6308754"/>
                </a:lnTo>
                <a:cubicBezTo>
                  <a:pt x="11814105" y="6308754"/>
                  <a:pt x="11816036" y="6309309"/>
                  <a:pt x="11816036" y="6312345"/>
                </a:cubicBezTo>
                <a:cubicBezTo>
                  <a:pt x="11816036" y="6314555"/>
                  <a:pt x="11814380" y="6315660"/>
                  <a:pt x="11812170" y="6315660"/>
                </a:cubicBezTo>
                <a:lnTo>
                  <a:pt x="11804992" y="6315660"/>
                </a:lnTo>
                <a:close/>
                <a:moveTo>
                  <a:pt x="11451664" y="6306857"/>
                </a:moveTo>
                <a:lnTo>
                  <a:pt x="11451664" y="6349653"/>
                </a:lnTo>
                <a:lnTo>
                  <a:pt x="11430123" y="6349653"/>
                </a:lnTo>
                <a:lnTo>
                  <a:pt x="11430123" y="6373129"/>
                </a:lnTo>
                <a:lnTo>
                  <a:pt x="11451664" y="6373129"/>
                </a:lnTo>
                <a:lnTo>
                  <a:pt x="11451664" y="6453226"/>
                </a:lnTo>
                <a:cubicBezTo>
                  <a:pt x="11451664" y="6479735"/>
                  <a:pt x="11462433" y="6494097"/>
                  <a:pt x="11491709" y="6494097"/>
                </a:cubicBezTo>
                <a:cubicBezTo>
                  <a:pt x="11497782" y="6494097"/>
                  <a:pt x="11505239" y="6493271"/>
                  <a:pt x="11510486" y="6492441"/>
                </a:cubicBezTo>
                <a:lnTo>
                  <a:pt x="11510486" y="6468140"/>
                </a:lnTo>
                <a:cubicBezTo>
                  <a:pt x="11507731" y="6468690"/>
                  <a:pt x="11501648" y="6469245"/>
                  <a:pt x="11497231" y="6469245"/>
                </a:cubicBezTo>
                <a:cubicBezTo>
                  <a:pt x="11486184" y="6469245"/>
                  <a:pt x="11482042" y="6464824"/>
                  <a:pt x="11482042" y="6453226"/>
                </a:cubicBezTo>
                <a:lnTo>
                  <a:pt x="11482042" y="6373139"/>
                </a:lnTo>
                <a:lnTo>
                  <a:pt x="11510486" y="6373139"/>
                </a:lnTo>
                <a:lnTo>
                  <a:pt x="11510486" y="6349653"/>
                </a:lnTo>
                <a:lnTo>
                  <a:pt x="11482042" y="6349653"/>
                </a:lnTo>
                <a:lnTo>
                  <a:pt x="11482042" y="6306857"/>
                </a:lnTo>
                <a:close/>
                <a:moveTo>
                  <a:pt x="11801136" y="6305439"/>
                </a:moveTo>
                <a:lnTo>
                  <a:pt x="11801136" y="6328915"/>
                </a:lnTo>
                <a:lnTo>
                  <a:pt x="11805002" y="6328915"/>
                </a:lnTo>
                <a:lnTo>
                  <a:pt x="11805002" y="6318972"/>
                </a:lnTo>
                <a:lnTo>
                  <a:pt x="11810800" y="6318972"/>
                </a:lnTo>
                <a:cubicBezTo>
                  <a:pt x="11814390" y="6318972"/>
                  <a:pt x="11816046" y="6320628"/>
                  <a:pt x="11816046" y="6323668"/>
                </a:cubicBezTo>
                <a:cubicBezTo>
                  <a:pt x="11816046" y="6325878"/>
                  <a:pt x="11816046" y="6327534"/>
                  <a:pt x="11816325" y="6328915"/>
                </a:cubicBezTo>
                <a:lnTo>
                  <a:pt x="11820191" y="6328915"/>
                </a:lnTo>
                <a:cubicBezTo>
                  <a:pt x="11819637" y="6326429"/>
                  <a:pt x="11819637" y="6324498"/>
                  <a:pt x="11819637" y="6322287"/>
                </a:cubicBezTo>
                <a:cubicBezTo>
                  <a:pt x="11819637" y="6318972"/>
                  <a:pt x="11817706" y="6317867"/>
                  <a:pt x="11816325" y="6317592"/>
                </a:cubicBezTo>
                <a:cubicBezTo>
                  <a:pt x="11817427" y="6317316"/>
                  <a:pt x="11819912" y="6315936"/>
                  <a:pt x="11819912" y="6311794"/>
                </a:cubicBezTo>
                <a:cubicBezTo>
                  <a:pt x="11819912" y="6308203"/>
                  <a:pt x="11817706" y="6305439"/>
                  <a:pt x="11812180" y="6305439"/>
                </a:cubicBezTo>
                <a:close/>
                <a:moveTo>
                  <a:pt x="11809849" y="6299125"/>
                </a:moveTo>
                <a:cubicBezTo>
                  <a:pt x="11820343" y="6299125"/>
                  <a:pt x="11827799" y="6306582"/>
                  <a:pt x="11827799" y="6317075"/>
                </a:cubicBezTo>
                <a:cubicBezTo>
                  <a:pt x="11827799" y="6327568"/>
                  <a:pt x="11820346" y="6335025"/>
                  <a:pt x="11809849" y="6335025"/>
                </a:cubicBezTo>
                <a:cubicBezTo>
                  <a:pt x="11799356" y="6335025"/>
                  <a:pt x="11791899" y="6327572"/>
                  <a:pt x="11791899" y="6317075"/>
                </a:cubicBezTo>
                <a:cubicBezTo>
                  <a:pt x="11791899" y="6306579"/>
                  <a:pt x="11799356" y="6299125"/>
                  <a:pt x="11809849" y="6299125"/>
                </a:cubicBezTo>
                <a:close/>
                <a:moveTo>
                  <a:pt x="11809839" y="6295259"/>
                </a:moveTo>
                <a:cubicBezTo>
                  <a:pt x="11797136" y="6295259"/>
                  <a:pt x="11788023" y="6304372"/>
                  <a:pt x="11788023" y="6317075"/>
                </a:cubicBezTo>
                <a:cubicBezTo>
                  <a:pt x="11788023" y="6329779"/>
                  <a:pt x="11797136" y="6338895"/>
                  <a:pt x="11809839" y="6338895"/>
                </a:cubicBezTo>
                <a:lnTo>
                  <a:pt x="11809849" y="6338895"/>
                </a:lnTo>
                <a:cubicBezTo>
                  <a:pt x="11822553" y="6338895"/>
                  <a:pt x="11831666" y="6329779"/>
                  <a:pt x="11831666" y="6317075"/>
                </a:cubicBezTo>
                <a:cubicBezTo>
                  <a:pt x="11831666" y="6304372"/>
                  <a:pt x="11822543" y="6295259"/>
                  <a:pt x="11809839" y="6295259"/>
                </a:cubicBezTo>
                <a:close/>
                <a:moveTo>
                  <a:pt x="11384271" y="6295259"/>
                </a:moveTo>
                <a:lnTo>
                  <a:pt x="11384271" y="6492992"/>
                </a:lnTo>
                <a:lnTo>
                  <a:pt x="11416029" y="6492992"/>
                </a:lnTo>
                <a:lnTo>
                  <a:pt x="11416029" y="6295259"/>
                </a:lnTo>
                <a:close/>
                <a:moveTo>
                  <a:pt x="11321855" y="6295259"/>
                </a:moveTo>
                <a:lnTo>
                  <a:pt x="11321855" y="6492992"/>
                </a:lnTo>
                <a:lnTo>
                  <a:pt x="11353338" y="6492992"/>
                </a:lnTo>
                <a:lnTo>
                  <a:pt x="11353338" y="6295259"/>
                </a:lnTo>
                <a:close/>
                <a:moveTo>
                  <a:pt x="10914512" y="6295259"/>
                </a:moveTo>
                <a:lnTo>
                  <a:pt x="10965050" y="6492441"/>
                </a:lnTo>
                <a:lnTo>
                  <a:pt x="11004817" y="6492441"/>
                </a:lnTo>
                <a:lnTo>
                  <a:pt x="11041825" y="6338898"/>
                </a:lnTo>
                <a:lnTo>
                  <a:pt x="11042376" y="6338898"/>
                </a:lnTo>
                <a:lnTo>
                  <a:pt x="11079381" y="6492441"/>
                </a:lnTo>
                <a:lnTo>
                  <a:pt x="11117495" y="6492441"/>
                </a:lnTo>
                <a:lnTo>
                  <a:pt x="11168033" y="6295259"/>
                </a:lnTo>
                <a:lnTo>
                  <a:pt x="11134075" y="6295259"/>
                </a:lnTo>
                <a:lnTo>
                  <a:pt x="11099820" y="6447425"/>
                </a:lnTo>
                <a:lnTo>
                  <a:pt x="11099266" y="6447425"/>
                </a:lnTo>
                <a:lnTo>
                  <a:pt x="11064182" y="6295259"/>
                </a:lnTo>
                <a:lnTo>
                  <a:pt x="11020570" y="6295259"/>
                </a:lnTo>
                <a:lnTo>
                  <a:pt x="10985486" y="6447425"/>
                </a:lnTo>
                <a:lnTo>
                  <a:pt x="10984935" y="6447425"/>
                </a:lnTo>
                <a:lnTo>
                  <a:pt x="10950681" y="6295259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via Insert &gt; Images</a:t>
            </a:r>
          </a:p>
        </p:txBody>
      </p:sp>
      <p:sp>
        <p:nvSpPr>
          <p:cNvPr id="8" name="Slide Number Placeholder 142" hidden="1">
            <a:extLst>
              <a:ext uri="{FF2B5EF4-FFF2-40B4-BE49-F238E27FC236}">
                <a16:creationId xmlns:a16="http://schemas.microsoft.com/office/drawing/2014/main" id="{DBC370AE-6734-49BC-8229-5A9CA7BA0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141" hidden="1">
            <a:extLst>
              <a:ext uri="{FF2B5EF4-FFF2-40B4-BE49-F238E27FC236}">
                <a16:creationId xmlns:a16="http://schemas.microsoft.com/office/drawing/2014/main" id="{3B8B352C-F19E-4745-B5CF-05471D19CC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anchor="b" anchorCtr="0"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Date Placeholder 140">
            <a:extLst>
              <a:ext uri="{FF2B5EF4-FFF2-40B4-BE49-F238E27FC236}">
                <a16:creationId xmlns:a16="http://schemas.microsoft.com/office/drawing/2014/main" id="{AA3B6146-45C1-4260-A945-4ED78607B0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1950" y="6136930"/>
            <a:ext cx="1968500" cy="360000"/>
          </a:xfrm>
          <a:prstGeom prst="rect">
            <a:avLst/>
          </a:prstGeom>
        </p:spPr>
        <p:txBody>
          <a:bodyPr anchor="b" anchorCtr="0"/>
          <a:lstStyle>
            <a:lvl1pPr algn="l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8CE53BF-A2B6-4C53-ADC8-0614C4897278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6DD84E1-7015-4A24-8DEF-796D7BE467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39204" y="720000"/>
            <a:ext cx="7874576" cy="3258000"/>
          </a:xfrm>
          <a:prstGeom prst="rect">
            <a:avLst/>
          </a:prstGeo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796BA641-0BEC-4635-9449-27A23B5521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27080" y="4157190"/>
            <a:ext cx="7886700" cy="720000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80F041B-3646-441D-95B8-D2A2C889A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7079" y="6136930"/>
            <a:ext cx="7886700" cy="36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1743700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mage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0C9318-340F-4CE1-B20E-F4602E945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621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0C9318-340F-4CE1-B20E-F4602E945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9D0D7FA-7DF7-4BE2-889A-5FE4FFE383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587250 w 12192000"/>
              <a:gd name="connsiteY0" fmla="*/ 6372860 h 6858000"/>
              <a:gd name="connsiteX1" fmla="*/ 11622324 w 12192000"/>
              <a:gd name="connsiteY1" fmla="*/ 6406554 h 6858000"/>
              <a:gd name="connsiteX2" fmla="*/ 11550796 w 12192000"/>
              <a:gd name="connsiteY2" fmla="*/ 6406554 h 6858000"/>
              <a:gd name="connsiteX3" fmla="*/ 11587250 w 12192000"/>
              <a:gd name="connsiteY3" fmla="*/ 6372860 h 6858000"/>
              <a:gd name="connsiteX4" fmla="*/ 11232377 w 12192000"/>
              <a:gd name="connsiteY4" fmla="*/ 6372860 h 6858000"/>
              <a:gd name="connsiteX5" fmla="*/ 11267451 w 12192000"/>
              <a:gd name="connsiteY5" fmla="*/ 6406554 h 6858000"/>
              <a:gd name="connsiteX6" fmla="*/ 11195926 w 12192000"/>
              <a:gd name="connsiteY6" fmla="*/ 6406554 h 6858000"/>
              <a:gd name="connsiteX7" fmla="*/ 11232377 w 12192000"/>
              <a:gd name="connsiteY7" fmla="*/ 6372860 h 6858000"/>
              <a:gd name="connsiteX8" fmla="*/ 11738583 w 12192000"/>
              <a:gd name="connsiteY8" fmla="*/ 6345815 h 6858000"/>
              <a:gd name="connsiteX9" fmla="*/ 11668160 w 12192000"/>
              <a:gd name="connsiteY9" fmla="*/ 6422586 h 6858000"/>
              <a:gd name="connsiteX10" fmla="*/ 11737478 w 12192000"/>
              <a:gd name="connsiteY10" fmla="*/ 6496321 h 6858000"/>
              <a:gd name="connsiteX11" fmla="*/ 11737485 w 12192000"/>
              <a:gd name="connsiteY11" fmla="*/ 6496311 h 6858000"/>
              <a:gd name="connsiteX12" fmla="*/ 11801277 w 12192000"/>
              <a:gd name="connsiteY12" fmla="*/ 6444671 h 6858000"/>
              <a:gd name="connsiteX13" fmla="*/ 11770359 w 12192000"/>
              <a:gd name="connsiteY13" fmla="*/ 6444671 h 6858000"/>
              <a:gd name="connsiteX14" fmla="*/ 11737495 w 12192000"/>
              <a:gd name="connsiteY14" fmla="*/ 6469252 h 6858000"/>
              <a:gd name="connsiteX15" fmla="*/ 11700765 w 12192000"/>
              <a:gd name="connsiteY15" fmla="*/ 6422579 h 6858000"/>
              <a:gd name="connsiteX16" fmla="*/ 11738875 w 12192000"/>
              <a:gd name="connsiteY16" fmla="*/ 6372867 h 6858000"/>
              <a:gd name="connsiteX17" fmla="*/ 11769254 w 12192000"/>
              <a:gd name="connsiteY17" fmla="*/ 6400209 h 6858000"/>
              <a:gd name="connsiteX18" fmla="*/ 11801270 w 12192000"/>
              <a:gd name="connsiteY18" fmla="*/ 6400209 h 6858000"/>
              <a:gd name="connsiteX19" fmla="*/ 11738583 w 12192000"/>
              <a:gd name="connsiteY19" fmla="*/ 6345815 h 6858000"/>
              <a:gd name="connsiteX20" fmla="*/ 11587512 w 12192000"/>
              <a:gd name="connsiteY20" fmla="*/ 6345804 h 6858000"/>
              <a:gd name="connsiteX21" fmla="*/ 11518197 w 12192000"/>
              <a:gd name="connsiteY21" fmla="*/ 6421199 h 6858000"/>
              <a:gd name="connsiteX22" fmla="*/ 11588083 w 12192000"/>
              <a:gd name="connsiteY22" fmla="*/ 6496314 h 6858000"/>
              <a:gd name="connsiteX23" fmla="*/ 11588066 w 12192000"/>
              <a:gd name="connsiteY23" fmla="*/ 6496321 h 6858000"/>
              <a:gd name="connsiteX24" fmla="*/ 11652688 w 12192000"/>
              <a:gd name="connsiteY24" fmla="*/ 6448812 h 6858000"/>
              <a:gd name="connsiteX25" fmla="*/ 11621756 w 12192000"/>
              <a:gd name="connsiteY25" fmla="*/ 6448812 h 6858000"/>
              <a:gd name="connsiteX26" fmla="*/ 11588066 w 12192000"/>
              <a:gd name="connsiteY26" fmla="*/ 6469252 h 6858000"/>
              <a:gd name="connsiteX27" fmla="*/ 11550782 w 12192000"/>
              <a:gd name="connsiteY27" fmla="*/ 6429206 h 6858000"/>
              <a:gd name="connsiteX28" fmla="*/ 11654620 w 12192000"/>
              <a:gd name="connsiteY28" fmla="*/ 6429206 h 6858000"/>
              <a:gd name="connsiteX29" fmla="*/ 11587512 w 12192000"/>
              <a:gd name="connsiteY29" fmla="*/ 6345804 h 6858000"/>
              <a:gd name="connsiteX30" fmla="*/ 11232656 w 12192000"/>
              <a:gd name="connsiteY30" fmla="*/ 6345794 h 6858000"/>
              <a:gd name="connsiteX31" fmla="*/ 11163338 w 12192000"/>
              <a:gd name="connsiteY31" fmla="*/ 6421188 h 6858000"/>
              <a:gd name="connsiteX32" fmla="*/ 11233206 w 12192000"/>
              <a:gd name="connsiteY32" fmla="*/ 6496311 h 6858000"/>
              <a:gd name="connsiteX33" fmla="*/ 11297829 w 12192000"/>
              <a:gd name="connsiteY33" fmla="*/ 6448802 h 6858000"/>
              <a:gd name="connsiteX34" fmla="*/ 11266900 w 12192000"/>
              <a:gd name="connsiteY34" fmla="*/ 6448802 h 6858000"/>
              <a:gd name="connsiteX35" fmla="*/ 11233206 w 12192000"/>
              <a:gd name="connsiteY35" fmla="*/ 6469241 h 6858000"/>
              <a:gd name="connsiteX36" fmla="*/ 11195926 w 12192000"/>
              <a:gd name="connsiteY36" fmla="*/ 6429196 h 6858000"/>
              <a:gd name="connsiteX37" fmla="*/ 11299763 w 12192000"/>
              <a:gd name="connsiteY37" fmla="*/ 6429196 h 6858000"/>
              <a:gd name="connsiteX38" fmla="*/ 11232656 w 12192000"/>
              <a:gd name="connsiteY38" fmla="*/ 6345794 h 6858000"/>
              <a:gd name="connsiteX39" fmla="*/ 11804992 w 12192000"/>
              <a:gd name="connsiteY39" fmla="*/ 6308754 h 6858000"/>
              <a:gd name="connsiteX40" fmla="*/ 11812170 w 12192000"/>
              <a:gd name="connsiteY40" fmla="*/ 6308754 h 6858000"/>
              <a:gd name="connsiteX41" fmla="*/ 11816036 w 12192000"/>
              <a:gd name="connsiteY41" fmla="*/ 6312345 h 6858000"/>
              <a:gd name="connsiteX42" fmla="*/ 11812170 w 12192000"/>
              <a:gd name="connsiteY42" fmla="*/ 6315660 h 6858000"/>
              <a:gd name="connsiteX43" fmla="*/ 11804992 w 12192000"/>
              <a:gd name="connsiteY43" fmla="*/ 6315660 h 6858000"/>
              <a:gd name="connsiteX44" fmla="*/ 11451664 w 12192000"/>
              <a:gd name="connsiteY44" fmla="*/ 6306857 h 6858000"/>
              <a:gd name="connsiteX45" fmla="*/ 11451664 w 12192000"/>
              <a:gd name="connsiteY45" fmla="*/ 6349653 h 6858000"/>
              <a:gd name="connsiteX46" fmla="*/ 11430123 w 12192000"/>
              <a:gd name="connsiteY46" fmla="*/ 6349653 h 6858000"/>
              <a:gd name="connsiteX47" fmla="*/ 11430123 w 12192000"/>
              <a:gd name="connsiteY47" fmla="*/ 6373129 h 6858000"/>
              <a:gd name="connsiteX48" fmla="*/ 11451664 w 12192000"/>
              <a:gd name="connsiteY48" fmla="*/ 6373129 h 6858000"/>
              <a:gd name="connsiteX49" fmla="*/ 11451664 w 12192000"/>
              <a:gd name="connsiteY49" fmla="*/ 6453226 h 6858000"/>
              <a:gd name="connsiteX50" fmla="*/ 11491709 w 12192000"/>
              <a:gd name="connsiteY50" fmla="*/ 6494097 h 6858000"/>
              <a:gd name="connsiteX51" fmla="*/ 11510486 w 12192000"/>
              <a:gd name="connsiteY51" fmla="*/ 6492441 h 6858000"/>
              <a:gd name="connsiteX52" fmla="*/ 11510486 w 12192000"/>
              <a:gd name="connsiteY52" fmla="*/ 6468140 h 6858000"/>
              <a:gd name="connsiteX53" fmla="*/ 11497231 w 12192000"/>
              <a:gd name="connsiteY53" fmla="*/ 6469245 h 6858000"/>
              <a:gd name="connsiteX54" fmla="*/ 11482042 w 12192000"/>
              <a:gd name="connsiteY54" fmla="*/ 6453226 h 6858000"/>
              <a:gd name="connsiteX55" fmla="*/ 11482042 w 12192000"/>
              <a:gd name="connsiteY55" fmla="*/ 6373139 h 6858000"/>
              <a:gd name="connsiteX56" fmla="*/ 11510486 w 12192000"/>
              <a:gd name="connsiteY56" fmla="*/ 6373139 h 6858000"/>
              <a:gd name="connsiteX57" fmla="*/ 11510486 w 12192000"/>
              <a:gd name="connsiteY57" fmla="*/ 6349653 h 6858000"/>
              <a:gd name="connsiteX58" fmla="*/ 11482042 w 12192000"/>
              <a:gd name="connsiteY58" fmla="*/ 6349653 h 6858000"/>
              <a:gd name="connsiteX59" fmla="*/ 11482042 w 12192000"/>
              <a:gd name="connsiteY59" fmla="*/ 6306857 h 6858000"/>
              <a:gd name="connsiteX60" fmla="*/ 11801136 w 12192000"/>
              <a:gd name="connsiteY60" fmla="*/ 6305439 h 6858000"/>
              <a:gd name="connsiteX61" fmla="*/ 11801136 w 12192000"/>
              <a:gd name="connsiteY61" fmla="*/ 6328915 h 6858000"/>
              <a:gd name="connsiteX62" fmla="*/ 11805002 w 12192000"/>
              <a:gd name="connsiteY62" fmla="*/ 6328915 h 6858000"/>
              <a:gd name="connsiteX63" fmla="*/ 11805002 w 12192000"/>
              <a:gd name="connsiteY63" fmla="*/ 6318972 h 6858000"/>
              <a:gd name="connsiteX64" fmla="*/ 11810800 w 12192000"/>
              <a:gd name="connsiteY64" fmla="*/ 6318972 h 6858000"/>
              <a:gd name="connsiteX65" fmla="*/ 11816046 w 12192000"/>
              <a:gd name="connsiteY65" fmla="*/ 6323668 h 6858000"/>
              <a:gd name="connsiteX66" fmla="*/ 11816325 w 12192000"/>
              <a:gd name="connsiteY66" fmla="*/ 6328915 h 6858000"/>
              <a:gd name="connsiteX67" fmla="*/ 11820191 w 12192000"/>
              <a:gd name="connsiteY67" fmla="*/ 6328915 h 6858000"/>
              <a:gd name="connsiteX68" fmla="*/ 11819637 w 12192000"/>
              <a:gd name="connsiteY68" fmla="*/ 6322287 h 6858000"/>
              <a:gd name="connsiteX69" fmla="*/ 11816325 w 12192000"/>
              <a:gd name="connsiteY69" fmla="*/ 6317592 h 6858000"/>
              <a:gd name="connsiteX70" fmla="*/ 11819912 w 12192000"/>
              <a:gd name="connsiteY70" fmla="*/ 6311794 h 6858000"/>
              <a:gd name="connsiteX71" fmla="*/ 11812180 w 12192000"/>
              <a:gd name="connsiteY71" fmla="*/ 6305439 h 6858000"/>
              <a:gd name="connsiteX72" fmla="*/ 11809849 w 12192000"/>
              <a:gd name="connsiteY72" fmla="*/ 6299125 h 6858000"/>
              <a:gd name="connsiteX73" fmla="*/ 11827799 w 12192000"/>
              <a:gd name="connsiteY73" fmla="*/ 6317075 h 6858000"/>
              <a:gd name="connsiteX74" fmla="*/ 11809849 w 12192000"/>
              <a:gd name="connsiteY74" fmla="*/ 6335025 h 6858000"/>
              <a:gd name="connsiteX75" fmla="*/ 11791899 w 12192000"/>
              <a:gd name="connsiteY75" fmla="*/ 6317075 h 6858000"/>
              <a:gd name="connsiteX76" fmla="*/ 11809849 w 12192000"/>
              <a:gd name="connsiteY76" fmla="*/ 6299125 h 6858000"/>
              <a:gd name="connsiteX77" fmla="*/ 11809839 w 12192000"/>
              <a:gd name="connsiteY77" fmla="*/ 6295259 h 6858000"/>
              <a:gd name="connsiteX78" fmla="*/ 11788023 w 12192000"/>
              <a:gd name="connsiteY78" fmla="*/ 6317075 h 6858000"/>
              <a:gd name="connsiteX79" fmla="*/ 11809839 w 12192000"/>
              <a:gd name="connsiteY79" fmla="*/ 6338895 h 6858000"/>
              <a:gd name="connsiteX80" fmla="*/ 11809849 w 12192000"/>
              <a:gd name="connsiteY80" fmla="*/ 6338895 h 6858000"/>
              <a:gd name="connsiteX81" fmla="*/ 11831666 w 12192000"/>
              <a:gd name="connsiteY81" fmla="*/ 6317075 h 6858000"/>
              <a:gd name="connsiteX82" fmla="*/ 11809839 w 12192000"/>
              <a:gd name="connsiteY82" fmla="*/ 6295259 h 6858000"/>
              <a:gd name="connsiteX83" fmla="*/ 11384271 w 12192000"/>
              <a:gd name="connsiteY83" fmla="*/ 6295259 h 6858000"/>
              <a:gd name="connsiteX84" fmla="*/ 11384271 w 12192000"/>
              <a:gd name="connsiteY84" fmla="*/ 6492992 h 6858000"/>
              <a:gd name="connsiteX85" fmla="*/ 11416029 w 12192000"/>
              <a:gd name="connsiteY85" fmla="*/ 6492992 h 6858000"/>
              <a:gd name="connsiteX86" fmla="*/ 11416029 w 12192000"/>
              <a:gd name="connsiteY86" fmla="*/ 6295259 h 6858000"/>
              <a:gd name="connsiteX87" fmla="*/ 11321855 w 12192000"/>
              <a:gd name="connsiteY87" fmla="*/ 6295259 h 6858000"/>
              <a:gd name="connsiteX88" fmla="*/ 11321855 w 12192000"/>
              <a:gd name="connsiteY88" fmla="*/ 6492992 h 6858000"/>
              <a:gd name="connsiteX89" fmla="*/ 11353338 w 12192000"/>
              <a:gd name="connsiteY89" fmla="*/ 6492992 h 6858000"/>
              <a:gd name="connsiteX90" fmla="*/ 11353338 w 12192000"/>
              <a:gd name="connsiteY90" fmla="*/ 6295259 h 6858000"/>
              <a:gd name="connsiteX91" fmla="*/ 10914512 w 12192000"/>
              <a:gd name="connsiteY91" fmla="*/ 6295259 h 6858000"/>
              <a:gd name="connsiteX92" fmla="*/ 10965050 w 12192000"/>
              <a:gd name="connsiteY92" fmla="*/ 6492441 h 6858000"/>
              <a:gd name="connsiteX93" fmla="*/ 11004817 w 12192000"/>
              <a:gd name="connsiteY93" fmla="*/ 6492441 h 6858000"/>
              <a:gd name="connsiteX94" fmla="*/ 11041825 w 12192000"/>
              <a:gd name="connsiteY94" fmla="*/ 6338898 h 6858000"/>
              <a:gd name="connsiteX95" fmla="*/ 11042376 w 12192000"/>
              <a:gd name="connsiteY95" fmla="*/ 6338898 h 6858000"/>
              <a:gd name="connsiteX96" fmla="*/ 11079381 w 12192000"/>
              <a:gd name="connsiteY96" fmla="*/ 6492441 h 6858000"/>
              <a:gd name="connsiteX97" fmla="*/ 11117495 w 12192000"/>
              <a:gd name="connsiteY97" fmla="*/ 6492441 h 6858000"/>
              <a:gd name="connsiteX98" fmla="*/ 11168033 w 12192000"/>
              <a:gd name="connsiteY98" fmla="*/ 6295259 h 6858000"/>
              <a:gd name="connsiteX99" fmla="*/ 11134075 w 12192000"/>
              <a:gd name="connsiteY99" fmla="*/ 6295259 h 6858000"/>
              <a:gd name="connsiteX100" fmla="*/ 11099820 w 12192000"/>
              <a:gd name="connsiteY100" fmla="*/ 6447425 h 6858000"/>
              <a:gd name="connsiteX101" fmla="*/ 11099266 w 12192000"/>
              <a:gd name="connsiteY101" fmla="*/ 6447425 h 6858000"/>
              <a:gd name="connsiteX102" fmla="*/ 11064182 w 12192000"/>
              <a:gd name="connsiteY102" fmla="*/ 6295259 h 6858000"/>
              <a:gd name="connsiteX103" fmla="*/ 11020570 w 12192000"/>
              <a:gd name="connsiteY103" fmla="*/ 6295259 h 6858000"/>
              <a:gd name="connsiteX104" fmla="*/ 10985486 w 12192000"/>
              <a:gd name="connsiteY104" fmla="*/ 6447425 h 6858000"/>
              <a:gd name="connsiteX105" fmla="*/ 10984935 w 12192000"/>
              <a:gd name="connsiteY105" fmla="*/ 6447425 h 6858000"/>
              <a:gd name="connsiteX106" fmla="*/ 10950681 w 12192000"/>
              <a:gd name="connsiteY106" fmla="*/ 6295259 h 6858000"/>
              <a:gd name="connsiteX107" fmla="*/ 0 w 12192000"/>
              <a:gd name="connsiteY107" fmla="*/ 0 h 6858000"/>
              <a:gd name="connsiteX108" fmla="*/ 12192000 w 12192000"/>
              <a:gd name="connsiteY108" fmla="*/ 0 h 6858000"/>
              <a:gd name="connsiteX109" fmla="*/ 12192000 w 12192000"/>
              <a:gd name="connsiteY109" fmla="*/ 6858000 h 6858000"/>
              <a:gd name="connsiteX110" fmla="*/ 0 w 12192000"/>
              <a:gd name="connsiteY1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12192000" h="6858000">
                <a:moveTo>
                  <a:pt x="11587250" y="6372860"/>
                </a:moveTo>
                <a:cubicBezTo>
                  <a:pt x="11608791" y="6372860"/>
                  <a:pt x="11620947" y="6388604"/>
                  <a:pt x="11622324" y="6406554"/>
                </a:cubicBezTo>
                <a:lnTo>
                  <a:pt x="11550796" y="6406554"/>
                </a:lnTo>
                <a:cubicBezTo>
                  <a:pt x="11553281" y="6389154"/>
                  <a:pt x="11565709" y="6372860"/>
                  <a:pt x="11587250" y="6372860"/>
                </a:cubicBezTo>
                <a:close/>
                <a:moveTo>
                  <a:pt x="11232377" y="6372860"/>
                </a:moveTo>
                <a:cubicBezTo>
                  <a:pt x="11253917" y="6372860"/>
                  <a:pt x="11266070" y="6388604"/>
                  <a:pt x="11267451" y="6406554"/>
                </a:cubicBezTo>
                <a:lnTo>
                  <a:pt x="11195926" y="6406554"/>
                </a:lnTo>
                <a:cubicBezTo>
                  <a:pt x="11198411" y="6389154"/>
                  <a:pt x="11210836" y="6372860"/>
                  <a:pt x="11232377" y="6372860"/>
                </a:cubicBezTo>
                <a:close/>
                <a:moveTo>
                  <a:pt x="11738583" y="6345815"/>
                </a:moveTo>
                <a:cubicBezTo>
                  <a:pt x="11691635" y="6345815"/>
                  <a:pt x="11668160" y="6379508"/>
                  <a:pt x="11668160" y="6422586"/>
                </a:cubicBezTo>
                <a:cubicBezTo>
                  <a:pt x="11668160" y="6464563"/>
                  <a:pt x="11692740" y="6496321"/>
                  <a:pt x="11737478" y="6496321"/>
                </a:cubicBezTo>
                <a:lnTo>
                  <a:pt x="11737485" y="6496311"/>
                </a:lnTo>
                <a:cubicBezTo>
                  <a:pt x="11771178" y="6496311"/>
                  <a:pt x="11794633" y="6478361"/>
                  <a:pt x="11801277" y="6444671"/>
                </a:cubicBezTo>
                <a:lnTo>
                  <a:pt x="11770359" y="6444671"/>
                </a:lnTo>
                <a:cubicBezTo>
                  <a:pt x="11767043" y="6460414"/>
                  <a:pt x="11757655" y="6469252"/>
                  <a:pt x="11737495" y="6469252"/>
                </a:cubicBezTo>
                <a:cubicBezTo>
                  <a:pt x="11710986" y="6469252"/>
                  <a:pt x="11700765" y="6446330"/>
                  <a:pt x="11700765" y="6422579"/>
                </a:cubicBezTo>
                <a:cubicBezTo>
                  <a:pt x="11700765" y="6379498"/>
                  <a:pt x="11723411" y="6372867"/>
                  <a:pt x="11738875" y="6372867"/>
                </a:cubicBezTo>
                <a:cubicBezTo>
                  <a:pt x="11754619" y="6372867"/>
                  <a:pt x="11766761" y="6382534"/>
                  <a:pt x="11769254" y="6400209"/>
                </a:cubicBezTo>
                <a:lnTo>
                  <a:pt x="11801270" y="6400209"/>
                </a:lnTo>
                <a:cubicBezTo>
                  <a:pt x="11798234" y="6365135"/>
                  <a:pt x="11770066" y="6345815"/>
                  <a:pt x="11738583" y="6345815"/>
                </a:cubicBezTo>
                <a:close/>
                <a:moveTo>
                  <a:pt x="11587512" y="6345804"/>
                </a:moveTo>
                <a:cubicBezTo>
                  <a:pt x="11544985" y="6345804"/>
                  <a:pt x="11518197" y="6380603"/>
                  <a:pt x="11518197" y="6421199"/>
                </a:cubicBezTo>
                <a:cubicBezTo>
                  <a:pt x="11518197" y="6465385"/>
                  <a:pt x="11543050" y="6496314"/>
                  <a:pt x="11588083" y="6496314"/>
                </a:cubicBezTo>
                <a:lnTo>
                  <a:pt x="11588066" y="6496321"/>
                </a:lnTo>
                <a:cubicBezTo>
                  <a:pt x="11618995" y="6496321"/>
                  <a:pt x="11646061" y="6478922"/>
                  <a:pt x="11652688" y="6448812"/>
                </a:cubicBezTo>
                <a:lnTo>
                  <a:pt x="11621756" y="6448812"/>
                </a:lnTo>
                <a:cubicBezTo>
                  <a:pt x="11617064" y="6462900"/>
                  <a:pt x="11606292" y="6469252"/>
                  <a:pt x="11588066" y="6469252"/>
                </a:cubicBezTo>
                <a:cubicBezTo>
                  <a:pt x="11562659" y="6469252"/>
                  <a:pt x="11551336" y="6449367"/>
                  <a:pt x="11550782" y="6429206"/>
                </a:cubicBezTo>
                <a:lnTo>
                  <a:pt x="11654620" y="6429206"/>
                </a:lnTo>
                <a:cubicBezTo>
                  <a:pt x="11658210" y="6385295"/>
                  <a:pt x="11633079" y="6345804"/>
                  <a:pt x="11587512" y="6345804"/>
                </a:cubicBezTo>
                <a:close/>
                <a:moveTo>
                  <a:pt x="11232656" y="6345794"/>
                </a:moveTo>
                <a:cubicBezTo>
                  <a:pt x="11190125" y="6345794"/>
                  <a:pt x="11163338" y="6380592"/>
                  <a:pt x="11163338" y="6421188"/>
                </a:cubicBezTo>
                <a:cubicBezTo>
                  <a:pt x="11163338" y="6465379"/>
                  <a:pt x="11188204" y="6496311"/>
                  <a:pt x="11233206" y="6496311"/>
                </a:cubicBezTo>
                <a:cubicBezTo>
                  <a:pt x="11264139" y="6496311"/>
                  <a:pt x="11291202" y="6478912"/>
                  <a:pt x="11297829" y="6448802"/>
                </a:cubicBezTo>
                <a:lnTo>
                  <a:pt x="11266900" y="6448802"/>
                </a:lnTo>
                <a:cubicBezTo>
                  <a:pt x="11262204" y="6462890"/>
                  <a:pt x="11251435" y="6469241"/>
                  <a:pt x="11233206" y="6469241"/>
                </a:cubicBezTo>
                <a:cubicBezTo>
                  <a:pt x="11207800" y="6469241"/>
                  <a:pt x="11196477" y="6449356"/>
                  <a:pt x="11195926" y="6429196"/>
                </a:cubicBezTo>
                <a:lnTo>
                  <a:pt x="11299763" y="6429196"/>
                </a:lnTo>
                <a:cubicBezTo>
                  <a:pt x="11303354" y="6385285"/>
                  <a:pt x="11278223" y="6345794"/>
                  <a:pt x="11232656" y="6345794"/>
                </a:cubicBezTo>
                <a:close/>
                <a:moveTo>
                  <a:pt x="11804992" y="6308754"/>
                </a:moveTo>
                <a:lnTo>
                  <a:pt x="11812170" y="6308754"/>
                </a:lnTo>
                <a:cubicBezTo>
                  <a:pt x="11814105" y="6308754"/>
                  <a:pt x="11816036" y="6309309"/>
                  <a:pt x="11816036" y="6312345"/>
                </a:cubicBezTo>
                <a:cubicBezTo>
                  <a:pt x="11816036" y="6314555"/>
                  <a:pt x="11814380" y="6315660"/>
                  <a:pt x="11812170" y="6315660"/>
                </a:cubicBezTo>
                <a:lnTo>
                  <a:pt x="11804992" y="6315660"/>
                </a:lnTo>
                <a:close/>
                <a:moveTo>
                  <a:pt x="11451664" y="6306857"/>
                </a:moveTo>
                <a:lnTo>
                  <a:pt x="11451664" y="6349653"/>
                </a:lnTo>
                <a:lnTo>
                  <a:pt x="11430123" y="6349653"/>
                </a:lnTo>
                <a:lnTo>
                  <a:pt x="11430123" y="6373129"/>
                </a:lnTo>
                <a:lnTo>
                  <a:pt x="11451664" y="6373129"/>
                </a:lnTo>
                <a:lnTo>
                  <a:pt x="11451664" y="6453226"/>
                </a:lnTo>
                <a:cubicBezTo>
                  <a:pt x="11451664" y="6479735"/>
                  <a:pt x="11462433" y="6494097"/>
                  <a:pt x="11491709" y="6494097"/>
                </a:cubicBezTo>
                <a:cubicBezTo>
                  <a:pt x="11497782" y="6494097"/>
                  <a:pt x="11505239" y="6493271"/>
                  <a:pt x="11510486" y="6492441"/>
                </a:cubicBezTo>
                <a:lnTo>
                  <a:pt x="11510486" y="6468140"/>
                </a:lnTo>
                <a:cubicBezTo>
                  <a:pt x="11507731" y="6468690"/>
                  <a:pt x="11501648" y="6469245"/>
                  <a:pt x="11497231" y="6469245"/>
                </a:cubicBezTo>
                <a:cubicBezTo>
                  <a:pt x="11486184" y="6469245"/>
                  <a:pt x="11482042" y="6464824"/>
                  <a:pt x="11482042" y="6453226"/>
                </a:cubicBezTo>
                <a:lnTo>
                  <a:pt x="11482042" y="6373139"/>
                </a:lnTo>
                <a:lnTo>
                  <a:pt x="11510486" y="6373139"/>
                </a:lnTo>
                <a:lnTo>
                  <a:pt x="11510486" y="6349653"/>
                </a:lnTo>
                <a:lnTo>
                  <a:pt x="11482042" y="6349653"/>
                </a:lnTo>
                <a:lnTo>
                  <a:pt x="11482042" y="6306857"/>
                </a:lnTo>
                <a:close/>
                <a:moveTo>
                  <a:pt x="11801136" y="6305439"/>
                </a:moveTo>
                <a:lnTo>
                  <a:pt x="11801136" y="6328915"/>
                </a:lnTo>
                <a:lnTo>
                  <a:pt x="11805002" y="6328915"/>
                </a:lnTo>
                <a:lnTo>
                  <a:pt x="11805002" y="6318972"/>
                </a:lnTo>
                <a:lnTo>
                  <a:pt x="11810800" y="6318972"/>
                </a:lnTo>
                <a:cubicBezTo>
                  <a:pt x="11814390" y="6318972"/>
                  <a:pt x="11816046" y="6320628"/>
                  <a:pt x="11816046" y="6323668"/>
                </a:cubicBezTo>
                <a:cubicBezTo>
                  <a:pt x="11816046" y="6325878"/>
                  <a:pt x="11816046" y="6327534"/>
                  <a:pt x="11816325" y="6328915"/>
                </a:cubicBezTo>
                <a:lnTo>
                  <a:pt x="11820191" y="6328915"/>
                </a:lnTo>
                <a:cubicBezTo>
                  <a:pt x="11819637" y="6326429"/>
                  <a:pt x="11819637" y="6324498"/>
                  <a:pt x="11819637" y="6322287"/>
                </a:cubicBezTo>
                <a:cubicBezTo>
                  <a:pt x="11819637" y="6318972"/>
                  <a:pt x="11817706" y="6317867"/>
                  <a:pt x="11816325" y="6317592"/>
                </a:cubicBezTo>
                <a:cubicBezTo>
                  <a:pt x="11817427" y="6317316"/>
                  <a:pt x="11819912" y="6315936"/>
                  <a:pt x="11819912" y="6311794"/>
                </a:cubicBezTo>
                <a:cubicBezTo>
                  <a:pt x="11819912" y="6308203"/>
                  <a:pt x="11817706" y="6305439"/>
                  <a:pt x="11812180" y="6305439"/>
                </a:cubicBezTo>
                <a:close/>
                <a:moveTo>
                  <a:pt x="11809849" y="6299125"/>
                </a:moveTo>
                <a:cubicBezTo>
                  <a:pt x="11820343" y="6299125"/>
                  <a:pt x="11827799" y="6306582"/>
                  <a:pt x="11827799" y="6317075"/>
                </a:cubicBezTo>
                <a:cubicBezTo>
                  <a:pt x="11827799" y="6327568"/>
                  <a:pt x="11820346" y="6335025"/>
                  <a:pt x="11809849" y="6335025"/>
                </a:cubicBezTo>
                <a:cubicBezTo>
                  <a:pt x="11799356" y="6335025"/>
                  <a:pt x="11791899" y="6327572"/>
                  <a:pt x="11791899" y="6317075"/>
                </a:cubicBezTo>
                <a:cubicBezTo>
                  <a:pt x="11791899" y="6306579"/>
                  <a:pt x="11799356" y="6299125"/>
                  <a:pt x="11809849" y="6299125"/>
                </a:cubicBezTo>
                <a:close/>
                <a:moveTo>
                  <a:pt x="11809839" y="6295259"/>
                </a:moveTo>
                <a:cubicBezTo>
                  <a:pt x="11797136" y="6295259"/>
                  <a:pt x="11788023" y="6304372"/>
                  <a:pt x="11788023" y="6317075"/>
                </a:cubicBezTo>
                <a:cubicBezTo>
                  <a:pt x="11788023" y="6329779"/>
                  <a:pt x="11797136" y="6338895"/>
                  <a:pt x="11809839" y="6338895"/>
                </a:cubicBezTo>
                <a:lnTo>
                  <a:pt x="11809849" y="6338895"/>
                </a:lnTo>
                <a:cubicBezTo>
                  <a:pt x="11822553" y="6338895"/>
                  <a:pt x="11831666" y="6329779"/>
                  <a:pt x="11831666" y="6317075"/>
                </a:cubicBezTo>
                <a:cubicBezTo>
                  <a:pt x="11831666" y="6304372"/>
                  <a:pt x="11822543" y="6295259"/>
                  <a:pt x="11809839" y="6295259"/>
                </a:cubicBezTo>
                <a:close/>
                <a:moveTo>
                  <a:pt x="11384271" y="6295259"/>
                </a:moveTo>
                <a:lnTo>
                  <a:pt x="11384271" y="6492992"/>
                </a:lnTo>
                <a:lnTo>
                  <a:pt x="11416029" y="6492992"/>
                </a:lnTo>
                <a:lnTo>
                  <a:pt x="11416029" y="6295259"/>
                </a:lnTo>
                <a:close/>
                <a:moveTo>
                  <a:pt x="11321855" y="6295259"/>
                </a:moveTo>
                <a:lnTo>
                  <a:pt x="11321855" y="6492992"/>
                </a:lnTo>
                <a:lnTo>
                  <a:pt x="11353338" y="6492992"/>
                </a:lnTo>
                <a:lnTo>
                  <a:pt x="11353338" y="6295259"/>
                </a:lnTo>
                <a:close/>
                <a:moveTo>
                  <a:pt x="10914512" y="6295259"/>
                </a:moveTo>
                <a:lnTo>
                  <a:pt x="10965050" y="6492441"/>
                </a:lnTo>
                <a:lnTo>
                  <a:pt x="11004817" y="6492441"/>
                </a:lnTo>
                <a:lnTo>
                  <a:pt x="11041825" y="6338898"/>
                </a:lnTo>
                <a:lnTo>
                  <a:pt x="11042376" y="6338898"/>
                </a:lnTo>
                <a:lnTo>
                  <a:pt x="11079381" y="6492441"/>
                </a:lnTo>
                <a:lnTo>
                  <a:pt x="11117495" y="6492441"/>
                </a:lnTo>
                <a:lnTo>
                  <a:pt x="11168033" y="6295259"/>
                </a:lnTo>
                <a:lnTo>
                  <a:pt x="11134075" y="6295259"/>
                </a:lnTo>
                <a:lnTo>
                  <a:pt x="11099820" y="6447425"/>
                </a:lnTo>
                <a:lnTo>
                  <a:pt x="11099266" y="6447425"/>
                </a:lnTo>
                <a:lnTo>
                  <a:pt x="11064182" y="6295259"/>
                </a:lnTo>
                <a:lnTo>
                  <a:pt x="11020570" y="6295259"/>
                </a:lnTo>
                <a:lnTo>
                  <a:pt x="10985486" y="6447425"/>
                </a:lnTo>
                <a:lnTo>
                  <a:pt x="10984935" y="6447425"/>
                </a:lnTo>
                <a:lnTo>
                  <a:pt x="10950681" y="6295259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via Insert &gt; Images</a:t>
            </a:r>
          </a:p>
        </p:txBody>
      </p:sp>
      <p:sp>
        <p:nvSpPr>
          <p:cNvPr id="8" name="Slide Number Placeholder 142" hidden="1">
            <a:extLst>
              <a:ext uri="{FF2B5EF4-FFF2-40B4-BE49-F238E27FC236}">
                <a16:creationId xmlns:a16="http://schemas.microsoft.com/office/drawing/2014/main" id="{9DA36719-F518-4AB4-B809-14EAE955D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141" hidden="1">
            <a:extLst>
              <a:ext uri="{FF2B5EF4-FFF2-40B4-BE49-F238E27FC236}">
                <a16:creationId xmlns:a16="http://schemas.microsoft.com/office/drawing/2014/main" id="{405F4A95-E9C4-4310-BA87-241B55DF2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anchor="b" anchorCtr="0"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Date Placeholder 140">
            <a:extLst>
              <a:ext uri="{FF2B5EF4-FFF2-40B4-BE49-F238E27FC236}">
                <a16:creationId xmlns:a16="http://schemas.microsoft.com/office/drawing/2014/main" id="{5263DACE-FB6B-4AC7-8F92-117A7BDE65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1950" y="6136930"/>
            <a:ext cx="1968500" cy="360000"/>
          </a:xfrm>
          <a:prstGeom prst="rect">
            <a:avLst/>
          </a:prstGeom>
        </p:spPr>
        <p:txBody>
          <a:bodyPr anchor="b" anchorCtr="0"/>
          <a:lstStyle>
            <a:lvl1pPr algn="l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8CE53BF-A2B6-4C53-ADC8-0614C4897278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4C3D5FD-5C79-46A8-94E2-3541F7D17F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39204" y="720000"/>
            <a:ext cx="7874576" cy="3258000"/>
          </a:xfrm>
          <a:prstGeom prst="rect">
            <a:avLst/>
          </a:prstGeo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823A402F-EA22-4100-8D2B-5A2E79CF602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27080" y="4157190"/>
            <a:ext cx="7886700" cy="720000"/>
          </a:xfrm>
        </p:spPr>
        <p:txBody>
          <a:bodyPr anchor="t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9A861C-411C-488F-AA8D-4D12B17A17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7079" y="6136930"/>
            <a:ext cx="7886700" cy="36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560896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976C2F4-73F4-4660-B236-B253D41AAD2F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15D2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1775D484-CBAB-43F3-B857-85F868783C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404" r="83424" b="33193"/>
          <a:stretch>
            <a:fillRect/>
          </a:stretch>
        </p:blipFill>
        <p:spPr>
          <a:xfrm>
            <a:off x="8887614" y="1"/>
            <a:ext cx="3304386" cy="6858000"/>
          </a:xfrm>
          <a:custGeom>
            <a:avLst/>
            <a:gdLst>
              <a:gd name="connsiteX0" fmla="*/ 0 w 3304386"/>
              <a:gd name="connsiteY0" fmla="*/ 0 h 6858000"/>
              <a:gd name="connsiteX1" fmla="*/ 3304386 w 3304386"/>
              <a:gd name="connsiteY1" fmla="*/ 0 h 6858000"/>
              <a:gd name="connsiteX2" fmla="*/ 3304386 w 3304386"/>
              <a:gd name="connsiteY2" fmla="*/ 6858000 h 6858000"/>
              <a:gd name="connsiteX3" fmla="*/ 0 w 33043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4386" h="6858000">
                <a:moveTo>
                  <a:pt x="0" y="0"/>
                </a:moveTo>
                <a:lnTo>
                  <a:pt x="3304386" y="0"/>
                </a:lnTo>
                <a:lnTo>
                  <a:pt x="330438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2160000"/>
            <a:ext cx="2597513" cy="39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17511" y="2160000"/>
            <a:ext cx="7528290" cy="397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59DD5E-5337-4CEA-861C-B2D3A6CB442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/>
          <a:p>
            <a:fld id="{87BD0EB1-ED28-4DED-86DC-F8CC0084765C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7AC08-AD5F-4449-80F1-95CB0F1B8E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6AB261-3589-4401-9DBB-56A5B0E3A3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E51B9F8-C91F-40D6-AA56-1C7F49477C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976C2F4-73F4-4660-B236-B253D41AAD2F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4F33AC51-869B-4BC9-A532-8A43A5FDEA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404" r="83424" b="33193"/>
          <a:stretch>
            <a:fillRect/>
          </a:stretch>
        </p:blipFill>
        <p:spPr>
          <a:xfrm>
            <a:off x="8887613" y="2"/>
            <a:ext cx="3304389" cy="6857999"/>
          </a:xfrm>
          <a:custGeom>
            <a:avLst/>
            <a:gdLst>
              <a:gd name="connsiteX0" fmla="*/ 0 w 3304389"/>
              <a:gd name="connsiteY0" fmla="*/ 0 h 6857999"/>
              <a:gd name="connsiteX1" fmla="*/ 3304389 w 3304389"/>
              <a:gd name="connsiteY1" fmla="*/ 0 h 6857999"/>
              <a:gd name="connsiteX2" fmla="*/ 3304389 w 3304389"/>
              <a:gd name="connsiteY2" fmla="*/ 6857999 h 6857999"/>
              <a:gd name="connsiteX3" fmla="*/ 0 w 3304389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4389" h="6857999">
                <a:moveTo>
                  <a:pt x="0" y="0"/>
                </a:moveTo>
                <a:lnTo>
                  <a:pt x="3304389" y="0"/>
                </a:lnTo>
                <a:lnTo>
                  <a:pt x="3304389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1E51B9F8-C91F-40D6-AA56-1C7F49477C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2160000"/>
            <a:ext cx="2597513" cy="39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17511" y="2160000"/>
            <a:ext cx="7528290" cy="397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59DD5E-5337-4CEA-861C-B2D3A6CB442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/>
          <a:p>
            <a:fld id="{87BD0EB1-ED28-4DED-86DC-F8CC0084765C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7AC08-AD5F-4449-80F1-95CB0F1B8E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6AB261-3589-4401-9DBB-56A5B0E3A3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11360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976C2F4-73F4-4660-B236-B253D41AAD2F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7979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bg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4808669-08A9-49D4-8D90-DCA016DB39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412" r="83383" b="33189"/>
          <a:stretch>
            <a:fillRect/>
          </a:stretch>
        </p:blipFill>
        <p:spPr>
          <a:xfrm>
            <a:off x="8879118" y="2"/>
            <a:ext cx="3312882" cy="6857999"/>
          </a:xfrm>
          <a:custGeom>
            <a:avLst/>
            <a:gdLst>
              <a:gd name="connsiteX0" fmla="*/ 0 w 3312882"/>
              <a:gd name="connsiteY0" fmla="*/ 0 h 6857999"/>
              <a:gd name="connsiteX1" fmla="*/ 3312882 w 3312882"/>
              <a:gd name="connsiteY1" fmla="*/ 0 h 6857999"/>
              <a:gd name="connsiteX2" fmla="*/ 3312882 w 3312882"/>
              <a:gd name="connsiteY2" fmla="*/ 6857999 h 6857999"/>
              <a:gd name="connsiteX3" fmla="*/ 0 w 3312882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2882" h="6857999">
                <a:moveTo>
                  <a:pt x="0" y="0"/>
                </a:moveTo>
                <a:lnTo>
                  <a:pt x="3312882" y="0"/>
                </a:lnTo>
                <a:lnTo>
                  <a:pt x="3312882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1E51B9F8-C91F-40D6-AA56-1C7F49477C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2160000"/>
            <a:ext cx="2597513" cy="39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17511" y="2160000"/>
            <a:ext cx="7528290" cy="397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59DD5E-5337-4CEA-861C-B2D3A6CB442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BD0EB1-ED28-4DED-86DC-F8CC0084765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7AC08-AD5F-4449-80F1-95CB0F1B8E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6AB261-3589-4401-9DBB-56A5B0E3A3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70224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976C2F4-73F4-4660-B236-B253D41AAD2F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15D2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3B469251-7758-45B4-8BF2-5F0A86BCA1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404" r="83424" b="33193"/>
          <a:stretch>
            <a:fillRect/>
          </a:stretch>
        </p:blipFill>
        <p:spPr>
          <a:xfrm>
            <a:off x="8887614" y="1"/>
            <a:ext cx="3304386" cy="6858000"/>
          </a:xfrm>
          <a:custGeom>
            <a:avLst/>
            <a:gdLst>
              <a:gd name="connsiteX0" fmla="*/ 0 w 3304386"/>
              <a:gd name="connsiteY0" fmla="*/ 0 h 6858000"/>
              <a:gd name="connsiteX1" fmla="*/ 3304386 w 3304386"/>
              <a:gd name="connsiteY1" fmla="*/ 0 h 6858000"/>
              <a:gd name="connsiteX2" fmla="*/ 3304386 w 3304386"/>
              <a:gd name="connsiteY2" fmla="*/ 6858000 h 6858000"/>
              <a:gd name="connsiteX3" fmla="*/ 0 w 330438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4386" h="6858000">
                <a:moveTo>
                  <a:pt x="0" y="0"/>
                </a:moveTo>
                <a:lnTo>
                  <a:pt x="3304386" y="0"/>
                </a:lnTo>
                <a:lnTo>
                  <a:pt x="330438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160000"/>
            <a:ext cx="2584800" cy="39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program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928400" y="2160000"/>
            <a:ext cx="5918399" cy="397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9pPr>
          </a:lstStyle>
          <a:p>
            <a:pPr lvl="0"/>
            <a:r>
              <a:rPr lang="en-GB" noProof="0" dirty="0"/>
              <a:t>Click to add program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FD5E39B-19BB-4D20-97E7-53CCD413F5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7875" y="2160588"/>
            <a:ext cx="1610525" cy="397668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0">
                <a:latin typeface="+mj-lt"/>
              </a:defRPr>
            </a:lvl9pPr>
          </a:lstStyle>
          <a:p>
            <a:pPr lvl="0"/>
            <a:r>
              <a:rPr lang="en-GB" dirty="0"/>
              <a:t>0900-0930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59DD5E-5337-4CEA-861C-B2D3A6CB442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/>
          <a:lstStyle/>
          <a:p>
            <a:fld id="{1CE87766-83AB-489E-BB35-DFE038602525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7AC08-AD5F-4449-80F1-95CB0F1B8E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6AB261-3589-4401-9DBB-56A5B0E3A3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E51B9F8-C91F-40D6-AA56-1C7F49477C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14512" y="6295259"/>
            <a:ext cx="917126" cy="20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5259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04E9444-F99D-4462-A6A8-FA39E10AE6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966128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92" imgH="595" progId="TCLayout.ActiveDocument.1">
                  <p:embed/>
                </p:oleObj>
              </mc:Choice>
              <mc:Fallback>
                <p:oleObj name="think-cell Slide" r:id="rId33" imgW="592" imgH="595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04E9444-F99D-4462-A6A8-FA39E10AE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950" y="1992701"/>
            <a:ext cx="11471250" cy="43132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720000"/>
            <a:ext cx="11471250" cy="634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18738" y="360000"/>
            <a:ext cx="1244624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75E3A4F-46E8-4EC9-BF27-1C4125791EAA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950" y="360000"/>
            <a:ext cx="35814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4925" y="360000"/>
            <a:ext cx="366713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44789A8-BBDD-45AD-BFF0-85CD530E294C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0914512" y="6381519"/>
            <a:ext cx="917126" cy="20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87" r:id="rId2"/>
    <p:sldLayoutId id="2147483784" r:id="rId3"/>
    <p:sldLayoutId id="2147483773" r:id="rId4"/>
    <p:sldLayoutId id="2147483774" r:id="rId5"/>
    <p:sldLayoutId id="2147483737" r:id="rId6"/>
    <p:sldLayoutId id="2147483785" r:id="rId7"/>
    <p:sldLayoutId id="2147483786" r:id="rId8"/>
    <p:sldLayoutId id="2147483775" r:id="rId9"/>
    <p:sldLayoutId id="2147483731" r:id="rId10"/>
    <p:sldLayoutId id="2147483732" r:id="rId11"/>
    <p:sldLayoutId id="2147483755" r:id="rId12"/>
    <p:sldLayoutId id="2147483776" r:id="rId13"/>
    <p:sldLayoutId id="2147483769" r:id="rId14"/>
    <p:sldLayoutId id="2147483757" r:id="rId15"/>
    <p:sldLayoutId id="2147483777" r:id="rId16"/>
    <p:sldLayoutId id="2147483764" r:id="rId17"/>
    <p:sldLayoutId id="2147483778" r:id="rId18"/>
    <p:sldLayoutId id="2147483779" r:id="rId19"/>
    <p:sldLayoutId id="2147483767" r:id="rId20"/>
    <p:sldLayoutId id="2147483781" r:id="rId21"/>
    <p:sldLayoutId id="2147483780" r:id="rId22"/>
    <p:sldLayoutId id="2147483768" r:id="rId23"/>
    <p:sldLayoutId id="2147483782" r:id="rId24"/>
    <p:sldLayoutId id="2147483743" r:id="rId25"/>
    <p:sldLayoutId id="2147483744" r:id="rId26"/>
    <p:sldLayoutId id="2147483760" r:id="rId27"/>
    <p:sldLayoutId id="2147483751" r:id="rId28"/>
    <p:sldLayoutId id="2147483788" r:id="rId29"/>
    <p:sldLayoutId id="2147483789" r:id="rId30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80000"/>
        <a:buFont typeface="Wingdings 2" panose="05020102010507070707" pitchFamily="18" charset="2"/>
        <a:buChar char="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80000"/>
        <a:buFont typeface="Wingdings 2" panose="05020102010507070707" pitchFamily="18" charset="2"/>
        <a:buChar char="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80000"/>
        <a:buFont typeface="Wingdings 2" panose="05020102010507070707" pitchFamily="18" charset="2"/>
        <a:buChar char="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Wingdings 2" panose="05020102010507070707" pitchFamily="18" charset="2"/>
        <a:buChar char="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900" b="1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3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5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 userDrawn="1">
          <p15:clr>
            <a:srgbClr val="F26B43"/>
          </p15:clr>
        </p15:guide>
        <p15:guide id="2" pos="847" userDrawn="1">
          <p15:clr>
            <a:srgbClr val="F26B43"/>
          </p15:clr>
        </p15:guide>
        <p15:guide id="3" orient="horz" pos="226" userDrawn="1">
          <p15:clr>
            <a:srgbClr val="F26B43"/>
          </p15:clr>
        </p15:guide>
        <p15:guide id="5" pos="1242" userDrawn="1">
          <p15:clr>
            <a:srgbClr val="F26B43"/>
          </p15:clr>
        </p15:guide>
        <p15:guide id="6" pos="1468" userDrawn="1">
          <p15:clr>
            <a:srgbClr val="F26B43"/>
          </p15:clr>
        </p15:guide>
        <p15:guide id="7" pos="1863" userDrawn="1">
          <p15:clr>
            <a:srgbClr val="F26B43"/>
          </p15:clr>
        </p15:guide>
        <p15:guide id="8" pos="2090" userDrawn="1">
          <p15:clr>
            <a:srgbClr val="F26B43"/>
          </p15:clr>
        </p15:guide>
        <p15:guide id="9" pos="2484" userDrawn="1">
          <p15:clr>
            <a:srgbClr val="F26B43"/>
          </p15:clr>
        </p15:guide>
        <p15:guide id="10" pos="2711" userDrawn="1">
          <p15:clr>
            <a:srgbClr val="F26B43"/>
          </p15:clr>
        </p15:guide>
        <p15:guide id="11" pos="3105" userDrawn="1">
          <p15:clr>
            <a:srgbClr val="F26B43"/>
          </p15:clr>
        </p15:guide>
        <p15:guide id="12" pos="3332" userDrawn="1">
          <p15:clr>
            <a:srgbClr val="F26B43"/>
          </p15:clr>
        </p15:guide>
        <p15:guide id="13" pos="3726" userDrawn="1">
          <p15:clr>
            <a:srgbClr val="F26B43"/>
          </p15:clr>
        </p15:guide>
        <p15:guide id="14" pos="3953" userDrawn="1">
          <p15:clr>
            <a:srgbClr val="F26B43"/>
          </p15:clr>
        </p15:guide>
        <p15:guide id="15" pos="4347" userDrawn="1">
          <p15:clr>
            <a:srgbClr val="F26B43"/>
          </p15:clr>
        </p15:guide>
        <p15:guide id="16" pos="4574" userDrawn="1">
          <p15:clr>
            <a:srgbClr val="F26B43"/>
          </p15:clr>
        </p15:guide>
        <p15:guide id="17" pos="4968" userDrawn="1">
          <p15:clr>
            <a:srgbClr val="F26B43"/>
          </p15:clr>
        </p15:guide>
        <p15:guide id="18" pos="5195" userDrawn="1">
          <p15:clr>
            <a:srgbClr val="F26B43"/>
          </p15:clr>
        </p15:guide>
        <p15:guide id="19" pos="5589" userDrawn="1">
          <p15:clr>
            <a:srgbClr val="F26B43"/>
          </p15:clr>
        </p15:guide>
        <p15:guide id="20" pos="5816" userDrawn="1">
          <p15:clr>
            <a:srgbClr val="F26B43"/>
          </p15:clr>
        </p15:guide>
        <p15:guide id="21" pos="6211" userDrawn="1">
          <p15:clr>
            <a:srgbClr val="F26B43"/>
          </p15:clr>
        </p15:guide>
        <p15:guide id="22" pos="6437" userDrawn="1">
          <p15:clr>
            <a:srgbClr val="F26B43"/>
          </p15:clr>
        </p15:guide>
        <p15:guide id="23" pos="6832" userDrawn="1">
          <p15:clr>
            <a:srgbClr val="F26B43"/>
          </p15:clr>
        </p15:guide>
        <p15:guide id="24" pos="7058" userDrawn="1">
          <p15:clr>
            <a:srgbClr val="F26B43"/>
          </p15:clr>
        </p15:guide>
        <p15:guide id="25" pos="228" userDrawn="1">
          <p15:clr>
            <a:srgbClr val="F26B43"/>
          </p15:clr>
        </p15:guide>
        <p15:guide id="26" pos="7453" userDrawn="1">
          <p15:clr>
            <a:srgbClr val="F26B43"/>
          </p15:clr>
        </p15:guide>
        <p15:guide id="27" pos="448" userDrawn="1">
          <p15:clr>
            <a:srgbClr val="F26B43"/>
          </p15:clr>
        </p15:guide>
        <p15:guide id="28" pos="7222" userDrawn="1">
          <p15:clr>
            <a:srgbClr val="F26B43"/>
          </p15:clr>
        </p15:guide>
        <p15:guide id="29" orient="horz" pos="40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20.xml"/><Relationship Id="rId1" Type="http://schemas.openxmlformats.org/officeDocument/2006/relationships/customXml" Target="../../customXml/item19.xml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21.xml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24.xml"/><Relationship Id="rId1" Type="http://schemas.openxmlformats.org/officeDocument/2006/relationships/customXml" Target="../../customXml/item23.xml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26.xml"/><Relationship Id="rId1" Type="http://schemas.openxmlformats.org/officeDocument/2006/relationships/customXml" Target="../../customXml/item25.xml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customXml" Target="../../customXml/item28.xml"/><Relationship Id="rId1" Type="http://schemas.openxmlformats.org/officeDocument/2006/relationships/customXml" Target="../../customXml/item27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3.png"/><Relationship Id="rId2" Type="http://schemas.openxmlformats.org/officeDocument/2006/relationships/customXml" Target="../../customXml/item30.xml"/><Relationship Id="rId1" Type="http://schemas.openxmlformats.org/officeDocument/2006/relationships/customXml" Target="../../customXml/item29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32.xml"/><Relationship Id="rId1" Type="http://schemas.openxmlformats.org/officeDocument/2006/relationships/customXml" Target="../../customXml/item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customXml" Target="../../customXml/item34.xml"/><Relationship Id="rId1" Type="http://schemas.openxmlformats.org/officeDocument/2006/relationships/customXml" Target="../../customXml/item33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36.xml"/><Relationship Id="rId1" Type="http://schemas.openxmlformats.org/officeDocument/2006/relationships/customXml" Target="../../customXml/item35.xml"/><Relationship Id="rId4" Type="http://schemas.openxmlformats.org/officeDocument/2006/relationships/notesSlide" Target="../notesSlides/notesSlid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38.xml"/><Relationship Id="rId1" Type="http://schemas.openxmlformats.org/officeDocument/2006/relationships/customXml" Target="../../customXml/item37.xml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40.xml"/><Relationship Id="rId1" Type="http://schemas.openxmlformats.org/officeDocument/2006/relationships/customXml" Target="../../customXml/item39.xml"/><Relationship Id="rId4" Type="http://schemas.openxmlformats.org/officeDocument/2006/relationships/notesSlide" Target="../notesSlides/notesSlide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42.xml"/><Relationship Id="rId1" Type="http://schemas.openxmlformats.org/officeDocument/2006/relationships/customXml" Target="../../customXml/item41.xml"/><Relationship Id="rId4" Type="http://schemas.openxmlformats.org/officeDocument/2006/relationships/image" Target="../media/image4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44.xml"/><Relationship Id="rId1" Type="http://schemas.openxmlformats.org/officeDocument/2006/relationships/customXml" Target="../../customXml/item43.xml"/><Relationship Id="rId4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46.xml"/><Relationship Id="rId1" Type="http://schemas.openxmlformats.org/officeDocument/2006/relationships/customXml" Target="../../customXml/item45.xml"/><Relationship Id="rId4" Type="http://schemas.openxmlformats.org/officeDocument/2006/relationships/notesSlide" Target="../notesSlides/notesSlide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48.xml"/><Relationship Id="rId1" Type="http://schemas.openxmlformats.org/officeDocument/2006/relationships/customXml" Target="../../customXml/item4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50.xml"/><Relationship Id="rId1" Type="http://schemas.openxmlformats.org/officeDocument/2006/relationships/customXml" Target="../../customXml/item4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52.xml"/><Relationship Id="rId1" Type="http://schemas.openxmlformats.org/officeDocument/2006/relationships/customXml" Target="../../customXml/item51.xml"/><Relationship Id="rId4" Type="http://schemas.openxmlformats.org/officeDocument/2006/relationships/notesSlide" Target="../notesSlides/notesSlide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54.xml"/><Relationship Id="rId1" Type="http://schemas.openxmlformats.org/officeDocument/2006/relationships/customXml" Target="../../customXml/item5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56.xml"/><Relationship Id="rId1" Type="http://schemas.openxmlformats.org/officeDocument/2006/relationships/customXml" Target="../../customXml/item5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customXml" Target="../../customXml/item58.xml"/><Relationship Id="rId1" Type="http://schemas.openxmlformats.org/officeDocument/2006/relationships/customXml" Target="../../customXml/item57.xml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60.xml"/><Relationship Id="rId1" Type="http://schemas.openxmlformats.org/officeDocument/2006/relationships/customXml" Target="../../customXml/item59.xml"/><Relationship Id="rId4" Type="http://schemas.openxmlformats.org/officeDocument/2006/relationships/notesSlide" Target="../notesSlides/notesSlide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62.xml"/><Relationship Id="rId1" Type="http://schemas.openxmlformats.org/officeDocument/2006/relationships/customXml" Target="../../customXml/item61.xml"/><Relationship Id="rId4" Type="http://schemas.openxmlformats.org/officeDocument/2006/relationships/notesSlide" Target="../notesSlides/notesSlide1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64.xml"/><Relationship Id="rId1" Type="http://schemas.openxmlformats.org/officeDocument/2006/relationships/customXml" Target="../../customXml/item6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66.xml"/><Relationship Id="rId1" Type="http://schemas.openxmlformats.org/officeDocument/2006/relationships/customXml" Target="../../customXml/item6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68.xml"/><Relationship Id="rId1" Type="http://schemas.openxmlformats.org/officeDocument/2006/relationships/customXml" Target="../../customXml/item6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customXml" Target="../../customXml/item70.xml"/><Relationship Id="rId1" Type="http://schemas.openxmlformats.org/officeDocument/2006/relationships/customXml" Target="../../customXml/item69.xml"/><Relationship Id="rId4" Type="http://schemas.openxmlformats.org/officeDocument/2006/relationships/image" Target="../media/image42.jpe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72.xml"/><Relationship Id="rId1" Type="http://schemas.openxmlformats.org/officeDocument/2006/relationships/customXml" Target="../../customXml/item7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7.xml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9.xml"/><Relationship Id="rId4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11.xml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13.xml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15.xml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18.xml"/><Relationship Id="rId1" Type="http://schemas.openxmlformats.org/officeDocument/2006/relationships/customXml" Target="../../customXml/item17.xml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background with yellow text&#10;&#10;AI-generated content may be incorrect.">
            <a:extLst>
              <a:ext uri="{FF2B5EF4-FFF2-40B4-BE49-F238E27FC236}">
                <a16:creationId xmlns:a16="http://schemas.microsoft.com/office/drawing/2014/main" id="{004F8C17-3081-638F-2C2E-05FF9749B4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83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DA61F8-01F7-A806-E544-9BC831BFD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l"/>
            <a:fld id="{147E912E-0380-46B8-B243-3FC72348D5EF}" type="datetime3">
              <a:rPr lang="en-GB" smtClean="0"/>
              <a:pPr algn="l"/>
              <a:t>19 September,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236D20-946D-5AB7-804E-F1C9BBF82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A7B6EE-C38A-34E4-10F9-90D199A37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3AA811B-2EBD-4900-905E-5BE206449611}" type="slidenum">
              <a:rPr lang="en-GB" smtClean="0"/>
              <a:pPr algn="l"/>
              <a:t>1</a:t>
            </a:fld>
            <a:endParaRPr lang="en-GB" dirty="0"/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8E056AD6-CE5C-4957-C22C-DC2C0EDF1E6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6907306" cy="6907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8C8CB-E5C7-A836-BD16-8DD668099A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6160" y="3276600"/>
            <a:ext cx="3187812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43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5FCC1A-7548-1C6F-E15F-22463C5119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C3111851-AC59-B04B-318D-145F3F7D2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processing – directiv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5C2FD1-1FFB-3F21-989C-F122F007CE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F6DF4C-276A-E82E-0630-1697ECDD2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88E618-F908-763B-589E-0AC446E82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8D508365-4AE0-7E6A-72B8-F84768D7FC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0360" y="1503081"/>
            <a:ext cx="5539978" cy="2154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inlcud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lt;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iostreeam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gt;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std::cou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lt;&l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Hell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,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world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!\n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retur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0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C7A479-DB90-7237-F2CF-18950F7DB2EC}"/>
              </a:ext>
            </a:extLst>
          </p:cNvPr>
          <p:cNvSpPr txBox="1"/>
          <p:nvPr/>
        </p:nvSpPr>
        <p:spPr>
          <a:xfrm>
            <a:off x="1610360" y="5174561"/>
            <a:ext cx="969772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000" dirty="0">
                <a:latin typeface="Aptos Mono" panose="020B0009020202020204" pitchFamily="49" charset="0"/>
              </a:rPr>
              <a:t>main.cpp:1:2: </a:t>
            </a:r>
            <a:r>
              <a:rPr lang="da-DK" sz="2000" dirty="0" err="1">
                <a:latin typeface="Aptos Mono" panose="020B0009020202020204" pitchFamily="49" charset="0"/>
              </a:rPr>
              <a:t>error</a:t>
            </a:r>
            <a:r>
              <a:rPr lang="da-DK" sz="2000" dirty="0">
                <a:latin typeface="Aptos Mono" panose="020B0009020202020204" pitchFamily="49" charset="0"/>
              </a:rPr>
              <a:t>: invalid </a:t>
            </a:r>
            <a:r>
              <a:rPr lang="da-DK" sz="2000" dirty="0" err="1">
                <a:latin typeface="Aptos Mono" panose="020B0009020202020204" pitchFamily="49" charset="0"/>
              </a:rPr>
              <a:t>preprocessing</a:t>
            </a:r>
            <a:r>
              <a:rPr lang="da-DK" sz="2000" dirty="0">
                <a:latin typeface="Aptos Mono" panose="020B0009020202020204" pitchFamily="49" charset="0"/>
              </a:rPr>
              <a:t> </a:t>
            </a:r>
            <a:r>
              <a:rPr lang="da-DK" sz="2000" dirty="0" err="1">
                <a:latin typeface="Aptos Mono" panose="020B0009020202020204" pitchFamily="49" charset="0"/>
              </a:rPr>
              <a:t>directive</a:t>
            </a:r>
            <a:r>
              <a:rPr lang="da-DK" sz="2000" dirty="0">
                <a:latin typeface="Aptos Mono" panose="020B0009020202020204" pitchFamily="49" charset="0"/>
              </a:rPr>
              <a:t> #inlcude; did </a:t>
            </a:r>
            <a:r>
              <a:rPr lang="da-DK" sz="2000" dirty="0" err="1">
                <a:latin typeface="Aptos Mono" panose="020B0009020202020204" pitchFamily="49" charset="0"/>
              </a:rPr>
              <a:t>you</a:t>
            </a:r>
            <a:r>
              <a:rPr lang="da-DK" sz="2000" dirty="0">
                <a:latin typeface="Aptos Mono" panose="020B0009020202020204" pitchFamily="49" charset="0"/>
              </a:rPr>
              <a:t> </a:t>
            </a:r>
            <a:r>
              <a:rPr lang="da-DK" sz="2000" dirty="0" err="1">
                <a:latin typeface="Aptos Mono" panose="020B0009020202020204" pitchFamily="49" charset="0"/>
              </a:rPr>
              <a:t>mean</a:t>
            </a:r>
            <a:r>
              <a:rPr lang="da-DK" sz="2000" dirty="0">
                <a:latin typeface="Aptos Mono" panose="020B0009020202020204" pitchFamily="49" charset="0"/>
              </a:rPr>
              <a:t> #include?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1 | #inlcude &lt;</a:t>
            </a:r>
            <a:r>
              <a:rPr lang="da-DK" sz="2000" dirty="0" err="1">
                <a:latin typeface="Aptos Mono" panose="020B0009020202020204" pitchFamily="49" charset="0"/>
              </a:rPr>
              <a:t>iostreeam</a:t>
            </a:r>
            <a:r>
              <a:rPr lang="da-DK" sz="2000" dirty="0">
                <a:latin typeface="Aptos Mono" panose="020B0009020202020204" pitchFamily="49" charset="0"/>
              </a:rPr>
              <a:t>&gt;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  |  ^~~~~~~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7E9C27-4052-CBDF-4856-5BCFCBBE754F}"/>
              </a:ext>
            </a:extLst>
          </p:cNvPr>
          <p:cNvSpPr txBox="1"/>
          <p:nvPr/>
        </p:nvSpPr>
        <p:spPr>
          <a:xfrm>
            <a:off x="1666235" y="4015929"/>
            <a:ext cx="4940301" cy="4001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>
            <a:spAutoFit/>
          </a:bodyPr>
          <a:lstStyle/>
          <a:p>
            <a:r>
              <a:rPr lang="da-DK" sz="2000" dirty="0">
                <a:solidFill>
                  <a:schemeClr val="bg1">
                    <a:lumMod val="85000"/>
                  </a:schemeClr>
                </a:solidFill>
                <a:latin typeface="Aptos Mono" panose="020B0009020202020204" pitchFamily="49" charset="0"/>
              </a:rPr>
              <a:t>$ g++ main.cpp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33193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582EAD-5584-7196-628C-878CBF9F79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419AAA63-2957-56C8-FB60-355F61318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processing – directiv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3F439B-C8AD-BB29-D9F4-79277225F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17A0A9-2A20-AA93-CE0F-7B6AFFF5D6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FCC460-0305-FD15-5944-1A073A7CA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8EAD4CA0-F477-CEC5-ECFA-E7671C1E92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0360" y="1503081"/>
            <a:ext cx="5539978" cy="2154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includ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lt;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iostreeam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gt;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std::cou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lt;&l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Hell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,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world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!\n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retur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0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06140F-925B-C835-2234-1B89A38CE354}"/>
              </a:ext>
            </a:extLst>
          </p:cNvPr>
          <p:cNvSpPr txBox="1"/>
          <p:nvPr/>
        </p:nvSpPr>
        <p:spPr>
          <a:xfrm>
            <a:off x="1610360" y="5174561"/>
            <a:ext cx="969772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000" dirty="0">
                <a:latin typeface="Aptos Mono" panose="020B0009020202020204" pitchFamily="49" charset="0"/>
              </a:rPr>
              <a:t>main.cpp:1:10: fatal </a:t>
            </a:r>
            <a:r>
              <a:rPr lang="da-DK" sz="2000" dirty="0" err="1">
                <a:latin typeface="Aptos Mono" panose="020B0009020202020204" pitchFamily="49" charset="0"/>
              </a:rPr>
              <a:t>error</a:t>
            </a:r>
            <a:r>
              <a:rPr lang="da-DK" sz="2000" dirty="0">
                <a:latin typeface="Aptos Mono" panose="020B0009020202020204" pitchFamily="49" charset="0"/>
              </a:rPr>
              <a:t>: </a:t>
            </a:r>
            <a:r>
              <a:rPr lang="da-DK" sz="2000" dirty="0" err="1">
                <a:latin typeface="Aptos Mono" panose="020B0009020202020204" pitchFamily="49" charset="0"/>
              </a:rPr>
              <a:t>iostreeam</a:t>
            </a:r>
            <a:r>
              <a:rPr lang="da-DK" sz="2000" dirty="0">
                <a:latin typeface="Aptos Mono" panose="020B0009020202020204" pitchFamily="49" charset="0"/>
              </a:rPr>
              <a:t>: No </a:t>
            </a:r>
            <a:r>
              <a:rPr lang="da-DK" sz="2000" dirty="0" err="1">
                <a:latin typeface="Aptos Mono" panose="020B0009020202020204" pitchFamily="49" charset="0"/>
              </a:rPr>
              <a:t>such</a:t>
            </a:r>
            <a:r>
              <a:rPr lang="da-DK" sz="2000" dirty="0">
                <a:latin typeface="Aptos Mono" panose="020B0009020202020204" pitchFamily="49" charset="0"/>
              </a:rPr>
              <a:t> file or </a:t>
            </a:r>
            <a:r>
              <a:rPr lang="da-DK" sz="2000" dirty="0" err="1">
                <a:latin typeface="Aptos Mono" panose="020B0009020202020204" pitchFamily="49" charset="0"/>
              </a:rPr>
              <a:t>directory</a:t>
            </a:r>
            <a:endParaRPr lang="da-DK" sz="2000" dirty="0">
              <a:latin typeface="Aptos Mono" panose="020B0009020202020204" pitchFamily="49" charset="0"/>
            </a:endParaRPr>
          </a:p>
          <a:p>
            <a:r>
              <a:rPr lang="da-DK" sz="2000" dirty="0">
                <a:latin typeface="Aptos Mono" panose="020B0009020202020204" pitchFamily="49" charset="0"/>
              </a:rPr>
              <a:t>    1 | #include &lt;</a:t>
            </a:r>
            <a:r>
              <a:rPr lang="da-DK" sz="2000" dirty="0" err="1">
                <a:latin typeface="Aptos Mono" panose="020B0009020202020204" pitchFamily="49" charset="0"/>
              </a:rPr>
              <a:t>iostreeam</a:t>
            </a:r>
            <a:r>
              <a:rPr lang="da-DK" sz="2000" dirty="0">
                <a:latin typeface="Aptos Mono" panose="020B0009020202020204" pitchFamily="49" charset="0"/>
              </a:rPr>
              <a:t>&gt;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  |          ^~~~~~~~~~~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6C2765-8B8D-7D2C-4F72-12ADAD13E281}"/>
              </a:ext>
            </a:extLst>
          </p:cNvPr>
          <p:cNvSpPr txBox="1"/>
          <p:nvPr/>
        </p:nvSpPr>
        <p:spPr>
          <a:xfrm>
            <a:off x="1666235" y="4015929"/>
            <a:ext cx="4940301" cy="4001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>
            <a:spAutoFit/>
          </a:bodyPr>
          <a:lstStyle/>
          <a:p>
            <a:r>
              <a:rPr lang="da-DK" sz="2000" dirty="0">
                <a:solidFill>
                  <a:schemeClr val="bg1">
                    <a:lumMod val="85000"/>
                  </a:schemeClr>
                </a:solidFill>
                <a:latin typeface="Aptos Mono" panose="020B0009020202020204" pitchFamily="49" charset="0"/>
              </a:rPr>
              <a:t>$ g++ main.cpp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09105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3703C8-EA08-40BF-D287-F781CB693B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A070D8CB-1CCC-CB9B-D2AD-CDF62B8B9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processing – Macro </a:t>
            </a:r>
            <a:r>
              <a:rPr lang="en-GB" dirty="0" err="1"/>
              <a:t>Redifinitions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39662F-D759-C0D1-2652-C52A0A67A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926C73-5A6A-23CF-5E0F-73E2AB901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B95A2D-39A7-1F4A-4663-D838FFCBB9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D6A549F4-08BF-F9B9-6018-68FF78A49D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7294" y="1195305"/>
            <a:ext cx="6924973" cy="2769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a-DK" altLang="da-DK" sz="2000" dirty="0">
                <a:solidFill>
                  <a:srgbClr val="000080"/>
                </a:solidFill>
                <a:latin typeface="Aptos Mono" panose="020B0009020202020204" pitchFamily="49" charset="0"/>
              </a:rPr>
              <a:t>#</a:t>
            </a:r>
            <a:r>
              <a:rPr lang="da-DK" altLang="da-DK" sz="2000" dirty="0">
                <a:latin typeface="Aptos Mono" panose="020B0009020202020204" pitchFamily="49" charset="0"/>
              </a:rPr>
              <a:t>define NAME </a:t>
            </a:r>
            <a:r>
              <a:rPr lang="da-DK" altLang="da-DK" sz="2000" dirty="0">
                <a:solidFill>
                  <a:srgbClr val="008000"/>
                </a:solidFill>
                <a:latin typeface="Aptos Mono" panose="020B0009020202020204" pitchFamily="49" charset="0"/>
              </a:rPr>
              <a:t>"Morten"</a:t>
            </a:r>
            <a:endParaRPr lang="da-DK" altLang="da-DK" sz="2000" dirty="0">
              <a:latin typeface="Aptos Mono" panose="020B0009020202020204" pitchFamily="49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a-DK" altLang="da-DK" sz="2000" dirty="0">
                <a:solidFill>
                  <a:srgbClr val="000080"/>
                </a:solidFill>
                <a:latin typeface="Aptos Mono" panose="020B0009020202020204" pitchFamily="49" charset="0"/>
              </a:rPr>
              <a:t>#</a:t>
            </a:r>
            <a:r>
              <a:rPr lang="da-DK" altLang="da-DK" sz="2000" dirty="0">
                <a:latin typeface="Aptos Mono" panose="020B0009020202020204" pitchFamily="49" charset="0"/>
              </a:rPr>
              <a:t>define NAME </a:t>
            </a:r>
            <a:r>
              <a:rPr lang="da-DK" altLang="da-DK" sz="2000" dirty="0">
                <a:solidFill>
                  <a:srgbClr val="008000"/>
                </a:solidFill>
                <a:latin typeface="Aptos Mono" panose="020B0009020202020204" pitchFamily="49" charset="0"/>
              </a:rPr>
              <a:t>"Bjarne"</a:t>
            </a:r>
            <a:endParaRPr lang="da-DK" altLang="da-DK" sz="2000" dirty="0">
              <a:latin typeface="Aptos Mono" panose="020B0009020202020204" pitchFamily="49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rgbClr val="808000"/>
              </a:solidFill>
              <a:effectLst/>
              <a:latin typeface="Aptos Mono" panose="020B0009020202020204" pitchFamily="49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std::cou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lt;&l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da-DK" altLang="da-DK" sz="2000" dirty="0">
                <a:solidFill>
                  <a:srgbClr val="008000"/>
                </a:solidFill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Hell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,</a:t>
            </a:r>
            <a:r>
              <a:rPr lang="da-DK" altLang="da-DK" sz="2000" dirty="0">
                <a:solidFill>
                  <a:srgbClr val="008000"/>
                </a:solidFill>
                <a:latin typeface="Aptos Mono" panose="020B0009020202020204" pitchFamily="49" charset="0"/>
              </a:rPr>
              <a:t> " &lt;&lt; NAME &lt;&lt; 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!\n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retur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0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20E990-0220-033B-9CC0-15479938D605}"/>
              </a:ext>
            </a:extLst>
          </p:cNvPr>
          <p:cNvSpPr txBox="1"/>
          <p:nvPr/>
        </p:nvSpPr>
        <p:spPr>
          <a:xfrm>
            <a:off x="1627293" y="4559008"/>
            <a:ext cx="10471573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Aptos Mono" panose="020B0009020202020204" pitchFamily="49" charset="0"/>
              </a:rPr>
              <a:t>main.cpp:2: warning: "NAME" redefined</a:t>
            </a:r>
          </a:p>
          <a:p>
            <a:r>
              <a:rPr lang="en-US" sz="2000" dirty="0">
                <a:latin typeface="Aptos Mono" panose="020B0009020202020204" pitchFamily="49" charset="0"/>
              </a:rPr>
              <a:t>    2 | #define NAME "Bjarne"</a:t>
            </a:r>
          </a:p>
          <a:p>
            <a:r>
              <a:rPr lang="en-US" sz="2000" dirty="0">
                <a:latin typeface="Aptos Mono" panose="020B0009020202020204" pitchFamily="49" charset="0"/>
              </a:rPr>
              <a:t>      |</a:t>
            </a:r>
          </a:p>
          <a:p>
            <a:r>
              <a:rPr lang="en-US" sz="2000" dirty="0">
                <a:latin typeface="Aptos Mono" panose="020B0009020202020204" pitchFamily="49" charset="0"/>
              </a:rPr>
              <a:t>main.cpp:1: note: this is the location of the previous definition</a:t>
            </a:r>
          </a:p>
          <a:p>
            <a:r>
              <a:rPr lang="en-US" sz="2000" dirty="0">
                <a:latin typeface="Aptos Mono" panose="020B0009020202020204" pitchFamily="49" charset="0"/>
              </a:rPr>
              <a:t>    1 | #define NAME "Morten"</a:t>
            </a:r>
            <a:endParaRPr lang="da-DK" sz="2000" dirty="0">
              <a:latin typeface="Aptos Mono" panose="020B0009020202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83DD4-EA5E-333C-C0EB-994C8B370851}"/>
              </a:ext>
            </a:extLst>
          </p:cNvPr>
          <p:cNvSpPr txBox="1"/>
          <p:nvPr/>
        </p:nvSpPr>
        <p:spPr>
          <a:xfrm>
            <a:off x="1666235" y="4015929"/>
            <a:ext cx="4940301" cy="4001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>
            <a:spAutoFit/>
          </a:bodyPr>
          <a:lstStyle/>
          <a:p>
            <a:r>
              <a:rPr lang="da-DK" sz="2000" dirty="0">
                <a:solidFill>
                  <a:schemeClr val="bg1">
                    <a:lumMod val="85000"/>
                  </a:schemeClr>
                </a:solidFill>
                <a:latin typeface="Aptos Mono" panose="020B0009020202020204" pitchFamily="49" charset="0"/>
              </a:rPr>
              <a:t>$ g++ main.cpp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5413002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E0EA8A-93E6-7B2E-C7F8-D5CCE6CB7D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4C298D7-EA89-F5D4-34FD-51E919163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processing – Summar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8E5764-588E-5279-F4E8-C421078F7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928894-12FE-90B3-780C-9391F90C6B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EF914F-05A8-DE4D-BA7D-A070B7156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03826B-745F-4861-2F03-F7485D9AB68F}"/>
              </a:ext>
            </a:extLst>
          </p:cNvPr>
          <p:cNvSpPr txBox="1"/>
          <p:nvPr/>
        </p:nvSpPr>
        <p:spPr>
          <a:xfrm>
            <a:off x="952634" y="2287041"/>
            <a:ext cx="700024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000" dirty="0" err="1"/>
              <a:t>Typical</a:t>
            </a:r>
            <a:r>
              <a:rPr lang="da-DK" sz="2000" dirty="0"/>
              <a:t> messag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/>
              <a:t>"No </a:t>
            </a:r>
            <a:r>
              <a:rPr lang="da-DK" sz="2000" dirty="0" err="1"/>
              <a:t>such</a:t>
            </a:r>
            <a:r>
              <a:rPr lang="da-DK" sz="2000" dirty="0"/>
              <a:t> file or </a:t>
            </a:r>
            <a:r>
              <a:rPr lang="da-DK" sz="2000" dirty="0" err="1"/>
              <a:t>directory</a:t>
            </a:r>
            <a:r>
              <a:rPr lang="da-DK" sz="2000" dirty="0"/>
              <a:t>"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/>
              <a:t>"</a:t>
            </a:r>
            <a:r>
              <a:rPr lang="da-DK" sz="2000" dirty="0" err="1"/>
              <a:t>Unknown</a:t>
            </a:r>
            <a:r>
              <a:rPr lang="da-DK" sz="2000" dirty="0"/>
              <a:t> </a:t>
            </a:r>
            <a:r>
              <a:rPr lang="da-DK" sz="2000" dirty="0" err="1"/>
              <a:t>preprocessing</a:t>
            </a:r>
            <a:r>
              <a:rPr lang="da-DK" sz="2000" dirty="0"/>
              <a:t> </a:t>
            </a:r>
            <a:r>
              <a:rPr lang="da-DK" sz="2000" dirty="0" err="1"/>
              <a:t>directive</a:t>
            </a:r>
            <a:r>
              <a:rPr lang="da-DK" sz="2000" dirty="0"/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/>
              <a:t>"Macro </a:t>
            </a:r>
            <a:r>
              <a:rPr lang="da-DK" sz="2000" dirty="0" err="1"/>
              <a:t>redefined</a:t>
            </a:r>
            <a:r>
              <a:rPr lang="da-DK" sz="2000" dirty="0"/>
              <a:t>"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BFD39F-F48E-646E-F194-94FEFD202EE5}"/>
              </a:ext>
            </a:extLst>
          </p:cNvPr>
          <p:cNvSpPr txBox="1"/>
          <p:nvPr/>
        </p:nvSpPr>
        <p:spPr>
          <a:xfrm>
            <a:off x="6781349" y="2287040"/>
            <a:ext cx="493101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000" dirty="0"/>
              <a:t>How to fix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2000" dirty="0"/>
              <a:t>Check </a:t>
            </a:r>
            <a:r>
              <a:rPr lang="da-DK" sz="2000" dirty="0" err="1"/>
              <a:t>include</a:t>
            </a:r>
            <a:r>
              <a:rPr lang="da-DK" sz="2000" dirty="0"/>
              <a:t> </a:t>
            </a:r>
            <a:r>
              <a:rPr lang="da-DK" sz="2000" dirty="0" err="1"/>
              <a:t>paths</a:t>
            </a:r>
            <a:endParaRPr lang="da-DK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2000" dirty="0"/>
              <a:t>Watch for </a:t>
            </a:r>
            <a:r>
              <a:rPr lang="da-DK" sz="2000" dirty="0" err="1"/>
              <a:t>typos</a:t>
            </a:r>
            <a:endParaRPr lang="da-DK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a-DK" sz="2000" dirty="0" err="1"/>
              <a:t>Avoid</a:t>
            </a:r>
            <a:r>
              <a:rPr lang="da-DK" sz="2000" dirty="0"/>
              <a:t> </a:t>
            </a:r>
            <a:r>
              <a:rPr lang="da-DK" sz="2000" dirty="0" err="1"/>
              <a:t>repeated</a:t>
            </a:r>
            <a:r>
              <a:rPr lang="da-DK" sz="2000" dirty="0"/>
              <a:t> </a:t>
            </a:r>
            <a:r>
              <a:rPr lang="da-DK" sz="2000" dirty="0" err="1"/>
              <a:t>includes</a:t>
            </a:r>
            <a:endParaRPr lang="da-DK" sz="2000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3030666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100 One-Page Side Quests for 5e! - Adventure Ripples | DriveThruRPG">
            <a:extLst>
              <a:ext uri="{FF2B5EF4-FFF2-40B4-BE49-F238E27FC236}">
                <a16:creationId xmlns:a16="http://schemas.microsoft.com/office/drawing/2014/main" id="{80000A85-2A58-8CD8-7E19-C6EA791E37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5061" y="321733"/>
            <a:ext cx="4801878" cy="6214533"/>
          </a:xfrm>
          <a:custGeom>
            <a:avLst/>
            <a:gdLst>
              <a:gd name="connsiteX0" fmla="*/ 0 w 4801878"/>
              <a:gd name="connsiteY0" fmla="*/ 0 h 6214533"/>
              <a:gd name="connsiteX1" fmla="*/ 685983 w 4801878"/>
              <a:gd name="connsiteY1" fmla="*/ 0 h 6214533"/>
              <a:gd name="connsiteX2" fmla="*/ 1275928 w 4801878"/>
              <a:gd name="connsiteY2" fmla="*/ 0 h 6214533"/>
              <a:gd name="connsiteX3" fmla="*/ 1961910 w 4801878"/>
              <a:gd name="connsiteY3" fmla="*/ 0 h 6214533"/>
              <a:gd name="connsiteX4" fmla="*/ 2551855 w 4801878"/>
              <a:gd name="connsiteY4" fmla="*/ 0 h 6214533"/>
              <a:gd name="connsiteX5" fmla="*/ 3237838 w 4801878"/>
              <a:gd name="connsiteY5" fmla="*/ 0 h 6214533"/>
              <a:gd name="connsiteX6" fmla="*/ 3827783 w 4801878"/>
              <a:gd name="connsiteY6" fmla="*/ 0 h 6214533"/>
              <a:gd name="connsiteX7" fmla="*/ 4801878 w 4801878"/>
              <a:gd name="connsiteY7" fmla="*/ 0 h 6214533"/>
              <a:gd name="connsiteX8" fmla="*/ 4801878 w 4801878"/>
              <a:gd name="connsiteY8" fmla="*/ 504068 h 6214533"/>
              <a:gd name="connsiteX9" fmla="*/ 4801878 w 4801878"/>
              <a:gd name="connsiteY9" fmla="*/ 1318862 h 6214533"/>
              <a:gd name="connsiteX10" fmla="*/ 4801878 w 4801878"/>
              <a:gd name="connsiteY10" fmla="*/ 1885075 h 6214533"/>
              <a:gd name="connsiteX11" fmla="*/ 4801878 w 4801878"/>
              <a:gd name="connsiteY11" fmla="*/ 2699869 h 6214533"/>
              <a:gd name="connsiteX12" fmla="*/ 4801878 w 4801878"/>
              <a:gd name="connsiteY12" fmla="*/ 3328228 h 6214533"/>
              <a:gd name="connsiteX13" fmla="*/ 4801878 w 4801878"/>
              <a:gd name="connsiteY13" fmla="*/ 4018731 h 6214533"/>
              <a:gd name="connsiteX14" fmla="*/ 4801878 w 4801878"/>
              <a:gd name="connsiteY14" fmla="*/ 4833526 h 6214533"/>
              <a:gd name="connsiteX15" fmla="*/ 4801878 w 4801878"/>
              <a:gd name="connsiteY15" fmla="*/ 5524029 h 6214533"/>
              <a:gd name="connsiteX16" fmla="*/ 4801878 w 4801878"/>
              <a:gd name="connsiteY16" fmla="*/ 6214533 h 6214533"/>
              <a:gd name="connsiteX17" fmla="*/ 4163914 w 4801878"/>
              <a:gd name="connsiteY17" fmla="*/ 6214533 h 6214533"/>
              <a:gd name="connsiteX18" fmla="*/ 3429913 w 4801878"/>
              <a:gd name="connsiteY18" fmla="*/ 6214533 h 6214533"/>
              <a:gd name="connsiteX19" fmla="*/ 2887987 w 4801878"/>
              <a:gd name="connsiteY19" fmla="*/ 6214533 h 6214533"/>
              <a:gd name="connsiteX20" fmla="*/ 2250023 w 4801878"/>
              <a:gd name="connsiteY20" fmla="*/ 6214533 h 6214533"/>
              <a:gd name="connsiteX21" fmla="*/ 1708097 w 4801878"/>
              <a:gd name="connsiteY21" fmla="*/ 6214533 h 6214533"/>
              <a:gd name="connsiteX22" fmla="*/ 926076 w 4801878"/>
              <a:gd name="connsiteY22" fmla="*/ 6214533 h 6214533"/>
              <a:gd name="connsiteX23" fmla="*/ 0 w 4801878"/>
              <a:gd name="connsiteY23" fmla="*/ 6214533 h 6214533"/>
              <a:gd name="connsiteX24" fmla="*/ 0 w 4801878"/>
              <a:gd name="connsiteY24" fmla="*/ 5399739 h 6214533"/>
              <a:gd name="connsiteX25" fmla="*/ 0 w 4801878"/>
              <a:gd name="connsiteY25" fmla="*/ 4771380 h 6214533"/>
              <a:gd name="connsiteX26" fmla="*/ 0 w 4801878"/>
              <a:gd name="connsiteY26" fmla="*/ 4267313 h 6214533"/>
              <a:gd name="connsiteX27" fmla="*/ 0 w 4801878"/>
              <a:gd name="connsiteY27" fmla="*/ 3638954 h 6214533"/>
              <a:gd name="connsiteX28" fmla="*/ 0 w 4801878"/>
              <a:gd name="connsiteY28" fmla="*/ 2948451 h 6214533"/>
              <a:gd name="connsiteX29" fmla="*/ 0 w 4801878"/>
              <a:gd name="connsiteY29" fmla="*/ 2444383 h 6214533"/>
              <a:gd name="connsiteX30" fmla="*/ 0 w 4801878"/>
              <a:gd name="connsiteY30" fmla="*/ 1753879 h 6214533"/>
              <a:gd name="connsiteX31" fmla="*/ 0 w 4801878"/>
              <a:gd name="connsiteY31" fmla="*/ 939085 h 6214533"/>
              <a:gd name="connsiteX32" fmla="*/ 0 w 4801878"/>
              <a:gd name="connsiteY32" fmla="*/ 0 h 6214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801878" h="6214533" extrusionOk="0">
                <a:moveTo>
                  <a:pt x="0" y="0"/>
                </a:moveTo>
                <a:cubicBezTo>
                  <a:pt x="139253" y="12317"/>
                  <a:pt x="355078" y="28467"/>
                  <a:pt x="685983" y="0"/>
                </a:cubicBezTo>
                <a:cubicBezTo>
                  <a:pt x="1016888" y="-28467"/>
                  <a:pt x="1059676" y="-15372"/>
                  <a:pt x="1275928" y="0"/>
                </a:cubicBezTo>
                <a:cubicBezTo>
                  <a:pt x="1492180" y="15372"/>
                  <a:pt x="1690929" y="-17223"/>
                  <a:pt x="1961910" y="0"/>
                </a:cubicBezTo>
                <a:cubicBezTo>
                  <a:pt x="2232891" y="17223"/>
                  <a:pt x="2337564" y="13607"/>
                  <a:pt x="2551855" y="0"/>
                </a:cubicBezTo>
                <a:cubicBezTo>
                  <a:pt x="2766147" y="-13607"/>
                  <a:pt x="2912765" y="-27073"/>
                  <a:pt x="3237838" y="0"/>
                </a:cubicBezTo>
                <a:cubicBezTo>
                  <a:pt x="3562911" y="27073"/>
                  <a:pt x="3559270" y="16357"/>
                  <a:pt x="3827783" y="0"/>
                </a:cubicBezTo>
                <a:cubicBezTo>
                  <a:pt x="4096297" y="-16357"/>
                  <a:pt x="4486033" y="5596"/>
                  <a:pt x="4801878" y="0"/>
                </a:cubicBezTo>
                <a:cubicBezTo>
                  <a:pt x="4805642" y="162812"/>
                  <a:pt x="4787508" y="255557"/>
                  <a:pt x="4801878" y="504068"/>
                </a:cubicBezTo>
                <a:cubicBezTo>
                  <a:pt x="4816248" y="752579"/>
                  <a:pt x="4809792" y="935082"/>
                  <a:pt x="4801878" y="1318862"/>
                </a:cubicBezTo>
                <a:cubicBezTo>
                  <a:pt x="4793964" y="1702642"/>
                  <a:pt x="4803975" y="1678064"/>
                  <a:pt x="4801878" y="1885075"/>
                </a:cubicBezTo>
                <a:cubicBezTo>
                  <a:pt x="4799781" y="2092086"/>
                  <a:pt x="4819023" y="2483182"/>
                  <a:pt x="4801878" y="2699869"/>
                </a:cubicBezTo>
                <a:cubicBezTo>
                  <a:pt x="4784733" y="2916556"/>
                  <a:pt x="4826804" y="3065215"/>
                  <a:pt x="4801878" y="3328228"/>
                </a:cubicBezTo>
                <a:cubicBezTo>
                  <a:pt x="4776952" y="3591241"/>
                  <a:pt x="4806126" y="3848077"/>
                  <a:pt x="4801878" y="4018731"/>
                </a:cubicBezTo>
                <a:cubicBezTo>
                  <a:pt x="4797630" y="4189385"/>
                  <a:pt x="4829697" y="4463171"/>
                  <a:pt x="4801878" y="4833526"/>
                </a:cubicBezTo>
                <a:cubicBezTo>
                  <a:pt x="4774059" y="5203881"/>
                  <a:pt x="4803648" y="5349571"/>
                  <a:pt x="4801878" y="5524029"/>
                </a:cubicBezTo>
                <a:cubicBezTo>
                  <a:pt x="4800108" y="5698487"/>
                  <a:pt x="4798689" y="5971740"/>
                  <a:pt x="4801878" y="6214533"/>
                </a:cubicBezTo>
                <a:cubicBezTo>
                  <a:pt x="4575402" y="6239956"/>
                  <a:pt x="4475135" y="6240233"/>
                  <a:pt x="4163914" y="6214533"/>
                </a:cubicBezTo>
                <a:cubicBezTo>
                  <a:pt x="3852693" y="6188833"/>
                  <a:pt x="3608686" y="6196774"/>
                  <a:pt x="3429913" y="6214533"/>
                </a:cubicBezTo>
                <a:cubicBezTo>
                  <a:pt x="3251140" y="6232292"/>
                  <a:pt x="3039834" y="6214998"/>
                  <a:pt x="2887987" y="6214533"/>
                </a:cubicBezTo>
                <a:cubicBezTo>
                  <a:pt x="2736140" y="6214068"/>
                  <a:pt x="2504473" y="6223483"/>
                  <a:pt x="2250023" y="6214533"/>
                </a:cubicBezTo>
                <a:cubicBezTo>
                  <a:pt x="1995573" y="6205583"/>
                  <a:pt x="1934187" y="6195623"/>
                  <a:pt x="1708097" y="6214533"/>
                </a:cubicBezTo>
                <a:cubicBezTo>
                  <a:pt x="1482007" y="6233443"/>
                  <a:pt x="1164717" y="6241326"/>
                  <a:pt x="926076" y="6214533"/>
                </a:cubicBezTo>
                <a:cubicBezTo>
                  <a:pt x="687435" y="6187740"/>
                  <a:pt x="284036" y="6250504"/>
                  <a:pt x="0" y="6214533"/>
                </a:cubicBezTo>
                <a:cubicBezTo>
                  <a:pt x="-13522" y="5932936"/>
                  <a:pt x="14195" y="5761873"/>
                  <a:pt x="0" y="5399739"/>
                </a:cubicBezTo>
                <a:cubicBezTo>
                  <a:pt x="-14195" y="5037605"/>
                  <a:pt x="-17273" y="4939873"/>
                  <a:pt x="0" y="4771380"/>
                </a:cubicBezTo>
                <a:cubicBezTo>
                  <a:pt x="17273" y="4602887"/>
                  <a:pt x="17852" y="4429205"/>
                  <a:pt x="0" y="4267313"/>
                </a:cubicBezTo>
                <a:cubicBezTo>
                  <a:pt x="-17852" y="4105421"/>
                  <a:pt x="-1985" y="3953069"/>
                  <a:pt x="0" y="3638954"/>
                </a:cubicBezTo>
                <a:cubicBezTo>
                  <a:pt x="1985" y="3324839"/>
                  <a:pt x="27185" y="3132904"/>
                  <a:pt x="0" y="2948451"/>
                </a:cubicBezTo>
                <a:cubicBezTo>
                  <a:pt x="-27185" y="2763998"/>
                  <a:pt x="-721" y="2682270"/>
                  <a:pt x="0" y="2444383"/>
                </a:cubicBezTo>
                <a:cubicBezTo>
                  <a:pt x="721" y="2206496"/>
                  <a:pt x="34520" y="1995775"/>
                  <a:pt x="0" y="1753879"/>
                </a:cubicBezTo>
                <a:cubicBezTo>
                  <a:pt x="-34520" y="1511983"/>
                  <a:pt x="-24017" y="1195743"/>
                  <a:pt x="0" y="939085"/>
                </a:cubicBezTo>
                <a:cubicBezTo>
                  <a:pt x="24017" y="682427"/>
                  <a:pt x="21456" y="374288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823978195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4616263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de Quest – Error messag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1F368C36-DD78-825D-0D20-0AE573FDA4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062" y="3267075"/>
            <a:ext cx="1038225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5F3E432-0A3A-6689-4B97-F566997F5E17}"/>
              </a:ext>
            </a:extLst>
          </p:cNvPr>
          <p:cNvSpPr txBox="1"/>
          <p:nvPr/>
        </p:nvSpPr>
        <p:spPr>
          <a:xfrm>
            <a:off x="3632200" y="3147536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dirty="0">
                <a:latin typeface="Aptos Mono" panose="020B0009020202020204" pitchFamily="49" charset="0"/>
              </a:rPr>
              <a:t>main.cpp:1:10: fatal </a:t>
            </a:r>
            <a:r>
              <a:rPr lang="da-DK" dirty="0" err="1">
                <a:latin typeface="Aptos Mono" panose="020B0009020202020204" pitchFamily="49" charset="0"/>
              </a:rPr>
              <a:t>error</a:t>
            </a:r>
            <a:r>
              <a:rPr lang="da-DK" dirty="0">
                <a:latin typeface="Aptos Mono" panose="020B0009020202020204" pitchFamily="49" charset="0"/>
              </a:rPr>
              <a:t>: </a:t>
            </a:r>
            <a:r>
              <a:rPr lang="da-DK" dirty="0" err="1">
                <a:latin typeface="Aptos Mono" panose="020B0009020202020204" pitchFamily="49" charset="0"/>
              </a:rPr>
              <a:t>classes.h</a:t>
            </a:r>
            <a:r>
              <a:rPr lang="da-DK" dirty="0">
                <a:latin typeface="Aptos Mono" panose="020B0009020202020204" pitchFamily="49" charset="0"/>
              </a:rPr>
              <a:t>: No </a:t>
            </a:r>
            <a:r>
              <a:rPr lang="da-DK" dirty="0" err="1">
                <a:latin typeface="Aptos Mono" panose="020B0009020202020204" pitchFamily="49" charset="0"/>
              </a:rPr>
              <a:t>such</a:t>
            </a:r>
            <a:r>
              <a:rPr lang="da-DK" dirty="0">
                <a:latin typeface="Aptos Mono" panose="020B0009020202020204" pitchFamily="49" charset="0"/>
              </a:rPr>
              <a:t> file or </a:t>
            </a:r>
            <a:r>
              <a:rPr lang="da-DK" dirty="0" err="1">
                <a:latin typeface="Aptos Mono" panose="020B0009020202020204" pitchFamily="49" charset="0"/>
              </a:rPr>
              <a:t>directory</a:t>
            </a:r>
            <a:endParaRPr lang="da-DK" dirty="0">
              <a:latin typeface="Aptos Mono" panose="020B0009020202020204" pitchFamily="49" charset="0"/>
            </a:endParaRPr>
          </a:p>
          <a:p>
            <a:r>
              <a:rPr lang="da-DK" dirty="0">
                <a:latin typeface="Aptos Mono" panose="020B0009020202020204" pitchFamily="49" charset="0"/>
              </a:rPr>
              <a:t>    1 | #include "</a:t>
            </a:r>
            <a:r>
              <a:rPr lang="da-DK" dirty="0" err="1">
                <a:latin typeface="Aptos Mono" panose="020B0009020202020204" pitchFamily="49" charset="0"/>
              </a:rPr>
              <a:t>classes.h</a:t>
            </a:r>
            <a:r>
              <a:rPr lang="da-DK" dirty="0">
                <a:latin typeface="Aptos Mono" panose="020B0009020202020204" pitchFamily="49" charset="0"/>
              </a:rPr>
              <a:t>"</a:t>
            </a:r>
          </a:p>
          <a:p>
            <a:r>
              <a:rPr lang="da-DK" dirty="0">
                <a:latin typeface="Aptos Mono" panose="020B0009020202020204" pitchFamily="49" charset="0"/>
              </a:rPr>
              <a:t>      |          ^~~~~~~~~~~</a:t>
            </a:r>
          </a:p>
          <a:p>
            <a:r>
              <a:rPr lang="da-DK" dirty="0">
                <a:latin typeface="Aptos Mono" panose="020B0009020202020204" pitchFamily="49" charset="0"/>
              </a:rPr>
              <a:t>compilation </a:t>
            </a:r>
            <a:r>
              <a:rPr lang="da-DK" dirty="0" err="1">
                <a:latin typeface="Aptos Mono" panose="020B0009020202020204" pitchFamily="49" charset="0"/>
              </a:rPr>
              <a:t>terminated</a:t>
            </a:r>
            <a:r>
              <a:rPr lang="da-DK" dirty="0">
                <a:latin typeface="Aptos Mono" panose="020B0009020202020204" pitchFamily="49" charset="0"/>
              </a:rPr>
              <a:t>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24F5A9D-0BFB-4E22-3288-E9C07F5EA07F}"/>
              </a:ext>
            </a:extLst>
          </p:cNvPr>
          <p:cNvGrpSpPr/>
          <p:nvPr/>
        </p:nvGrpSpPr>
        <p:grpSpPr>
          <a:xfrm>
            <a:off x="984250" y="1445735"/>
            <a:ext cx="10668000" cy="4897453"/>
            <a:chOff x="984250" y="1445735"/>
            <a:chExt cx="10668000" cy="489745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9D3EE50-CB42-168F-CE8B-F91EEF5D7059}"/>
                </a:ext>
              </a:extLst>
            </p:cNvPr>
            <p:cNvSpPr txBox="1"/>
            <p:nvPr/>
          </p:nvSpPr>
          <p:spPr>
            <a:xfrm>
              <a:off x="3632200" y="1445735"/>
              <a:ext cx="8020050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a-DK" dirty="0">
                  <a:latin typeface="Aptos Mono" panose="020B0009020202020204" pitchFamily="49" charset="0"/>
                </a:rPr>
                <a:t>main.cpp:1:10: fatal </a:t>
              </a:r>
              <a:r>
                <a:rPr lang="da-DK" dirty="0" err="1">
                  <a:latin typeface="Aptos Mono" panose="020B0009020202020204" pitchFamily="49" charset="0"/>
                </a:rPr>
                <a:t>error</a:t>
              </a:r>
              <a:r>
                <a:rPr lang="da-DK" dirty="0">
                  <a:latin typeface="Aptos Mono" panose="020B0009020202020204" pitchFamily="49" charset="0"/>
                </a:rPr>
                <a:t>: '</a:t>
              </a:r>
              <a:r>
                <a:rPr lang="da-DK" dirty="0" err="1">
                  <a:latin typeface="Aptos Mono" panose="020B0009020202020204" pitchFamily="49" charset="0"/>
                </a:rPr>
                <a:t>classes.h</a:t>
              </a:r>
              <a:r>
                <a:rPr lang="da-DK" dirty="0">
                  <a:latin typeface="Aptos Mono" panose="020B0009020202020204" pitchFamily="49" charset="0"/>
                </a:rPr>
                <a:t>' file not </a:t>
              </a:r>
              <a:r>
                <a:rPr lang="da-DK" dirty="0" err="1">
                  <a:latin typeface="Aptos Mono" panose="020B0009020202020204" pitchFamily="49" charset="0"/>
                </a:rPr>
                <a:t>found</a:t>
              </a:r>
              <a:endParaRPr lang="da-DK" dirty="0">
                <a:latin typeface="Aptos Mono" panose="020B0009020202020204" pitchFamily="49" charset="0"/>
              </a:endParaRPr>
            </a:p>
            <a:p>
              <a:r>
                <a:rPr lang="da-DK" dirty="0">
                  <a:latin typeface="Aptos Mono" panose="020B0009020202020204" pitchFamily="49" charset="0"/>
                </a:rPr>
                <a:t>    1 | #include "</a:t>
              </a:r>
              <a:r>
                <a:rPr lang="da-DK" dirty="0" err="1">
                  <a:latin typeface="Aptos Mono" panose="020B0009020202020204" pitchFamily="49" charset="0"/>
                </a:rPr>
                <a:t>classes.h</a:t>
              </a:r>
              <a:r>
                <a:rPr lang="da-DK" dirty="0">
                  <a:latin typeface="Aptos Mono" panose="020B0009020202020204" pitchFamily="49" charset="0"/>
                </a:rPr>
                <a:t>"</a:t>
              </a:r>
            </a:p>
            <a:p>
              <a:r>
                <a:rPr lang="da-DK" dirty="0">
                  <a:latin typeface="Aptos Mono" panose="020B0009020202020204" pitchFamily="49" charset="0"/>
                </a:rPr>
                <a:t>      |          ^~~~~~~~~~~</a:t>
              </a:r>
            </a:p>
            <a:p>
              <a:r>
                <a:rPr lang="da-DK" dirty="0">
                  <a:latin typeface="Aptos Mono" panose="020B0009020202020204" pitchFamily="49" charset="0"/>
                </a:rPr>
                <a:t>1 </a:t>
              </a:r>
              <a:r>
                <a:rPr lang="da-DK" dirty="0" err="1">
                  <a:latin typeface="Aptos Mono" panose="020B0009020202020204" pitchFamily="49" charset="0"/>
                </a:rPr>
                <a:t>error</a:t>
              </a:r>
              <a:r>
                <a:rPr lang="da-DK" dirty="0">
                  <a:latin typeface="Aptos Mono" panose="020B0009020202020204" pitchFamily="49" charset="0"/>
                </a:rPr>
                <a:t> </a:t>
              </a:r>
              <a:r>
                <a:rPr lang="da-DK" dirty="0" err="1">
                  <a:latin typeface="Aptos Mono" panose="020B0009020202020204" pitchFamily="49" charset="0"/>
                </a:rPr>
                <a:t>generated</a:t>
              </a:r>
              <a:r>
                <a:rPr lang="da-DK" dirty="0">
                  <a:latin typeface="Aptos Mono" panose="020B0009020202020204" pitchFamily="49" charset="0"/>
                </a:rPr>
                <a:t>.</a:t>
              </a:r>
            </a:p>
          </p:txBody>
        </p:sp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037CC6CC-C770-2430-19F0-38CE618C39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4250" y="1546114"/>
              <a:ext cx="1593850" cy="999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 5">
              <a:extLst>
                <a:ext uri="{FF2B5EF4-FFF2-40B4-BE49-F238E27FC236}">
                  <a16:creationId xmlns:a16="http://schemas.microsoft.com/office/drawing/2014/main" id="{478E4FA7-1CB9-ECA9-6A62-661DAA0248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2200" y="4958193"/>
              <a:ext cx="6889749" cy="13849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1440" tIns="0" rIns="9144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b="0" i="0" u="none" strike="noStrike" cap="none" normalizeH="0" baseline="0" dirty="0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main.cpp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b="0" i="0" u="none" strike="noStrike" cap="none" normalizeH="0" baseline="0" dirty="0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&lt;source&gt;(1): fatal </a:t>
              </a:r>
              <a:r>
                <a:rPr kumimoji="0" lang="da-DK" altLang="da-DK" b="0" i="0" u="none" strike="noStrike" cap="none" normalizeH="0" baseline="0" dirty="0" err="1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error</a:t>
              </a:r>
              <a:r>
                <a:rPr kumimoji="0" lang="da-DK" altLang="da-DK" b="0" i="0" u="none" strike="noStrike" cap="none" normalizeH="0" baseline="0" dirty="0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 C1083: </a:t>
              </a:r>
              <a:r>
                <a:rPr kumimoji="0" lang="da-DK" altLang="da-DK" b="0" i="0" u="none" strike="noStrike" cap="none" normalizeH="0" baseline="0" dirty="0" err="1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Cannot</a:t>
              </a:r>
              <a:r>
                <a:rPr kumimoji="0" lang="da-DK" altLang="da-DK" b="0" i="0" u="none" strike="noStrike" cap="none" normalizeH="0" baseline="0" dirty="0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 open </a:t>
              </a:r>
              <a:r>
                <a:rPr kumimoji="0" lang="da-DK" altLang="da-DK" b="0" i="0" u="none" strike="noStrike" cap="none" normalizeH="0" baseline="0" dirty="0" err="1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include</a:t>
              </a:r>
              <a:r>
                <a:rPr kumimoji="0" lang="da-DK" altLang="da-DK" b="0" i="0" u="none" strike="noStrike" cap="none" normalizeH="0" baseline="0" dirty="0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 file: </a:t>
              </a:r>
              <a:r>
                <a:rPr kumimoji="0" lang="da-DK" altLang="da-DK" b="0" i="0" u="none" strike="noStrike" cap="none" normalizeH="0" baseline="0" dirty="0" err="1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classes.h</a:t>
              </a:r>
              <a:r>
                <a:rPr kumimoji="0" lang="da-DK" altLang="da-DK" b="0" i="0" u="none" strike="noStrike" cap="none" normalizeH="0" baseline="0" dirty="0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': No </a:t>
              </a:r>
              <a:r>
                <a:rPr kumimoji="0" lang="da-DK" altLang="da-DK" b="0" i="0" u="none" strike="noStrike" cap="none" normalizeH="0" baseline="0" dirty="0" err="1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such</a:t>
              </a:r>
              <a:r>
                <a:rPr kumimoji="0" lang="da-DK" altLang="da-DK" b="0" i="0" u="none" strike="noStrike" cap="none" normalizeH="0" baseline="0" dirty="0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 file or </a:t>
              </a:r>
              <a:r>
                <a:rPr kumimoji="0" lang="da-DK" altLang="da-DK" b="0" i="0" u="none" strike="noStrike" cap="none" normalizeH="0" baseline="0" dirty="0" err="1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directory</a:t>
              </a:r>
              <a:endParaRPr kumimoji="0" lang="da-DK" altLang="da-DK" b="0" i="0" u="none" strike="noStrike" cap="none" normalizeH="0" baseline="0" dirty="0">
                <a:ln>
                  <a:noFill/>
                </a:ln>
                <a:solidFill>
                  <a:srgbClr val="212529"/>
                </a:solidFill>
                <a:effectLst/>
                <a:latin typeface="Aptos Mono" panose="020B0009020202020204" pitchFamily="49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b="0" i="0" u="none" strike="noStrike" cap="none" normalizeH="0" baseline="0" dirty="0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Compiler </a:t>
              </a:r>
              <a:r>
                <a:rPr kumimoji="0" lang="da-DK" altLang="da-DK" b="0" i="0" u="none" strike="noStrike" cap="none" normalizeH="0" baseline="0" dirty="0" err="1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returned</a:t>
              </a:r>
              <a:r>
                <a:rPr kumimoji="0" lang="da-DK" altLang="da-DK" b="0" i="0" u="none" strike="noStrike" cap="none" normalizeH="0" baseline="0" dirty="0">
                  <a:ln>
                    <a:noFill/>
                  </a:ln>
                  <a:solidFill>
                    <a:srgbClr val="212529"/>
                  </a:solidFill>
                  <a:effectLst/>
                  <a:latin typeface="Aptos Mono" panose="020B0009020202020204" pitchFamily="49" charset="0"/>
                </a:rPr>
                <a:t>: 2</a:t>
              </a:r>
              <a:endParaRPr kumimoji="0" lang="da-DK" altLang="da-DK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endParaRPr>
            </a:p>
          </p:txBody>
        </p:sp>
        <p:pic>
          <p:nvPicPr>
            <p:cNvPr id="3079" name="Picture 7">
              <a:extLst>
                <a:ext uri="{FF2B5EF4-FFF2-40B4-BE49-F238E27FC236}">
                  <a16:creationId xmlns:a16="http://schemas.microsoft.com/office/drawing/2014/main" id="{D5D9662B-6690-2F8F-5A7A-8F63F5A527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1899" y="5101415"/>
              <a:ext cx="1098550" cy="10985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2890457-1B4F-0B54-027A-E0E259240C65}"/>
              </a:ext>
            </a:extLst>
          </p:cNvPr>
          <p:cNvCxnSpPr/>
          <p:nvPr/>
        </p:nvCxnSpPr>
        <p:spPr>
          <a:xfrm flipV="1">
            <a:off x="685800" y="2908300"/>
            <a:ext cx="10777562" cy="5715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2304595-367C-BC05-BFB9-85D5FF840AB8}"/>
              </a:ext>
            </a:extLst>
          </p:cNvPr>
          <p:cNvCxnSpPr/>
          <p:nvPr/>
        </p:nvCxnSpPr>
        <p:spPr>
          <a:xfrm flipV="1">
            <a:off x="685800" y="4778375"/>
            <a:ext cx="10777562" cy="5715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E487760D-173C-2D52-FE9B-EED880ED66C1}"/>
              </a:ext>
            </a:extLst>
          </p:cNvPr>
          <p:cNvGrpSpPr/>
          <p:nvPr/>
        </p:nvGrpSpPr>
        <p:grpSpPr>
          <a:xfrm>
            <a:off x="1303560" y="5345202"/>
            <a:ext cx="9656541" cy="854763"/>
            <a:chOff x="-158423" y="7453515"/>
            <a:chExt cx="13546043" cy="1199048"/>
          </a:xfrm>
        </p:grpSpPr>
        <p:pic>
          <p:nvPicPr>
            <p:cNvPr id="6148" name="Picture 4" descr="undefined">
              <a:extLst>
                <a:ext uri="{FF2B5EF4-FFF2-40B4-BE49-F238E27FC236}">
                  <a16:creationId xmlns:a16="http://schemas.microsoft.com/office/drawing/2014/main" id="{4F606BD5-9776-B9F9-3E66-CC9E7D858E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8423" y="7453515"/>
              <a:ext cx="3399773" cy="117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0" name="Picture 6" descr="undefined">
              <a:extLst>
                <a:ext uri="{FF2B5EF4-FFF2-40B4-BE49-F238E27FC236}">
                  <a16:creationId xmlns:a16="http://schemas.microsoft.com/office/drawing/2014/main" id="{2BEF788E-D548-A1BD-EB7A-141AAC4736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8051" y="7482563"/>
              <a:ext cx="1668604" cy="117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2" name="Picture 8" descr="undefined">
              <a:extLst>
                <a:ext uri="{FF2B5EF4-FFF2-40B4-BE49-F238E27FC236}">
                  <a16:creationId xmlns:a16="http://schemas.microsoft.com/office/drawing/2014/main" id="{C33941B6-B2F3-9CC9-44DA-5B518D10B9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9557" y="7453515"/>
              <a:ext cx="2273685" cy="117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4" name="Picture 10" descr="undefined">
              <a:extLst>
                <a:ext uri="{FF2B5EF4-FFF2-40B4-BE49-F238E27FC236}">
                  <a16:creationId xmlns:a16="http://schemas.microsoft.com/office/drawing/2014/main" id="{B7B90322-9A11-66F4-E639-F744BA9C55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5945" y="7453515"/>
              <a:ext cx="4961675" cy="117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13372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75" y="554080"/>
            <a:ext cx="11471250" cy="578448"/>
          </a:xfrm>
        </p:spPr>
        <p:txBody>
          <a:bodyPr/>
          <a:lstStyle/>
          <a:p>
            <a:r>
              <a:rPr lang="en-GB" dirty="0"/>
              <a:t>Over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F785755-DAEA-4A22-3A5A-C31C9188727A}"/>
              </a:ext>
            </a:extLst>
          </p:cNvPr>
          <p:cNvSpPr/>
          <p:nvPr/>
        </p:nvSpPr>
        <p:spPr>
          <a:xfrm>
            <a:off x="1449115" y="2024186"/>
            <a:ext cx="9170335" cy="644050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Preprocessing</a:t>
            </a:r>
            <a:endParaRPr lang="da-DK" sz="1600" noProof="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C46875-D5F1-710E-C995-E0749A88CE90}"/>
              </a:ext>
            </a:extLst>
          </p:cNvPr>
          <p:cNvSpPr/>
          <p:nvPr/>
        </p:nvSpPr>
        <p:spPr>
          <a:xfrm>
            <a:off x="1446759" y="1253310"/>
            <a:ext cx="9170335" cy="586128"/>
          </a:xfrm>
          <a:prstGeom prst="rect">
            <a:avLst/>
          </a:prstGeom>
          <a:ln>
            <a:solidFill>
              <a:srgbClr val="79797F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/>
              <a:t>Typing </a:t>
            </a:r>
            <a:r>
              <a:rPr lang="da-DK" sz="1600" dirty="0" err="1"/>
              <a:t>code</a:t>
            </a:r>
            <a:endParaRPr lang="da-DK" sz="1600" noProof="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0B252C-4E2B-DC20-35C1-EC00C5D6BF18}"/>
              </a:ext>
            </a:extLst>
          </p:cNvPr>
          <p:cNvSpPr/>
          <p:nvPr/>
        </p:nvSpPr>
        <p:spPr>
          <a:xfrm>
            <a:off x="1448321" y="2804151"/>
            <a:ext cx="9171129" cy="160184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Compiling</a:t>
            </a:r>
            <a:endParaRPr lang="da-DK" sz="1600" noProof="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F8C6D0-0969-321E-F4E6-18CFD50AF775}"/>
              </a:ext>
            </a:extLst>
          </p:cNvPr>
          <p:cNvSpPr/>
          <p:nvPr/>
        </p:nvSpPr>
        <p:spPr>
          <a:xfrm>
            <a:off x="1449115" y="4528023"/>
            <a:ext cx="9151144" cy="1076667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Linking</a:t>
            </a:r>
            <a:endParaRPr lang="da-DK" sz="16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97B4CF-C545-843A-4880-DDBD43BEF2D1}"/>
              </a:ext>
            </a:extLst>
          </p:cNvPr>
          <p:cNvSpPr/>
          <p:nvPr/>
        </p:nvSpPr>
        <p:spPr>
          <a:xfrm>
            <a:off x="1449115" y="5827003"/>
            <a:ext cx="9151144" cy="712269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Flashing</a:t>
            </a:r>
            <a:endParaRPr lang="da-DK" sz="1600" noProof="0" dirty="0" err="1"/>
          </a:p>
        </p:txBody>
      </p:sp>
      <p:sp>
        <p:nvSpPr>
          <p:cNvPr id="12" name="Scroll: Vertical 11">
            <a:extLst>
              <a:ext uri="{FF2B5EF4-FFF2-40B4-BE49-F238E27FC236}">
                <a16:creationId xmlns:a16="http://schemas.microsoft.com/office/drawing/2014/main" id="{4A007C7B-1322-650B-76DE-87775E10A8C6}"/>
              </a:ext>
            </a:extLst>
          </p:cNvPr>
          <p:cNvSpPr/>
          <p:nvPr/>
        </p:nvSpPr>
        <p:spPr>
          <a:xfrm>
            <a:off x="3748468" y="1341531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</a:t>
            </a:r>
            <a:r>
              <a:rPr lang="da-DK" sz="1600" noProof="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15" name="Scroll: Vertical 14">
            <a:extLst>
              <a:ext uri="{FF2B5EF4-FFF2-40B4-BE49-F238E27FC236}">
                <a16:creationId xmlns:a16="http://schemas.microsoft.com/office/drawing/2014/main" id="{716BF737-BC9F-3FC5-2E50-6F09BD7394B8}"/>
              </a:ext>
            </a:extLst>
          </p:cNvPr>
          <p:cNvSpPr/>
          <p:nvPr/>
        </p:nvSpPr>
        <p:spPr>
          <a:xfrm>
            <a:off x="4882645" y="1349096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0" name="Scroll: Vertical 19">
            <a:extLst>
              <a:ext uri="{FF2B5EF4-FFF2-40B4-BE49-F238E27FC236}">
                <a16:creationId xmlns:a16="http://schemas.microsoft.com/office/drawing/2014/main" id="{6C375B20-2519-820A-097B-829B174DBE8E}"/>
              </a:ext>
            </a:extLst>
          </p:cNvPr>
          <p:cNvSpPr/>
          <p:nvPr/>
        </p:nvSpPr>
        <p:spPr>
          <a:xfrm>
            <a:off x="3787049" y="2134516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</a:t>
            </a:r>
            <a:r>
              <a:rPr lang="da-DK" sz="1600" noProof="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1" name="Scroll: Vertical 20">
            <a:extLst>
              <a:ext uri="{FF2B5EF4-FFF2-40B4-BE49-F238E27FC236}">
                <a16:creationId xmlns:a16="http://schemas.microsoft.com/office/drawing/2014/main" id="{FDB78099-D4BA-018E-BA5F-DDDF9AEF2CE5}"/>
              </a:ext>
            </a:extLst>
          </p:cNvPr>
          <p:cNvSpPr/>
          <p:nvPr/>
        </p:nvSpPr>
        <p:spPr>
          <a:xfrm>
            <a:off x="4921226" y="2123878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4" name="Scroll: Vertical 23">
            <a:extLst>
              <a:ext uri="{FF2B5EF4-FFF2-40B4-BE49-F238E27FC236}">
                <a16:creationId xmlns:a16="http://schemas.microsoft.com/office/drawing/2014/main" id="{8207C63C-6DC8-294C-69D1-47E33CECC446}"/>
              </a:ext>
            </a:extLst>
          </p:cNvPr>
          <p:cNvSpPr/>
          <p:nvPr/>
        </p:nvSpPr>
        <p:spPr>
          <a:xfrm>
            <a:off x="3748468" y="2926179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i</a:t>
            </a:r>
          </a:p>
        </p:txBody>
      </p:sp>
      <p:sp>
        <p:nvSpPr>
          <p:cNvPr id="25" name="Scroll: Vertical 24">
            <a:extLst>
              <a:ext uri="{FF2B5EF4-FFF2-40B4-BE49-F238E27FC236}">
                <a16:creationId xmlns:a16="http://schemas.microsoft.com/office/drawing/2014/main" id="{155CB003-981E-C724-EEA1-E54E3E03D295}"/>
              </a:ext>
            </a:extLst>
          </p:cNvPr>
          <p:cNvSpPr/>
          <p:nvPr/>
        </p:nvSpPr>
        <p:spPr>
          <a:xfrm>
            <a:off x="4882644" y="2954428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i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8" name="Scroll: Vertical 27">
            <a:extLst>
              <a:ext uri="{FF2B5EF4-FFF2-40B4-BE49-F238E27FC236}">
                <a16:creationId xmlns:a16="http://schemas.microsoft.com/office/drawing/2014/main" id="{29F00892-FA7A-E1FF-0551-F634DD2DDA1B}"/>
              </a:ext>
            </a:extLst>
          </p:cNvPr>
          <p:cNvSpPr/>
          <p:nvPr/>
        </p:nvSpPr>
        <p:spPr>
          <a:xfrm>
            <a:off x="3706030" y="4853244"/>
            <a:ext cx="933651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o</a:t>
            </a:r>
          </a:p>
        </p:txBody>
      </p:sp>
      <p:sp>
        <p:nvSpPr>
          <p:cNvPr id="29" name="Scroll: Vertical 28">
            <a:extLst>
              <a:ext uri="{FF2B5EF4-FFF2-40B4-BE49-F238E27FC236}">
                <a16:creationId xmlns:a16="http://schemas.microsoft.com/office/drawing/2014/main" id="{D1650975-C2A9-9A8D-5C3D-01B23EEB577B}"/>
              </a:ext>
            </a:extLst>
          </p:cNvPr>
          <p:cNvSpPr/>
          <p:nvPr/>
        </p:nvSpPr>
        <p:spPr>
          <a:xfrm>
            <a:off x="4840206" y="4849572"/>
            <a:ext cx="933651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o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33" name="Scroll: Vertical 32">
            <a:extLst>
              <a:ext uri="{FF2B5EF4-FFF2-40B4-BE49-F238E27FC236}">
                <a16:creationId xmlns:a16="http://schemas.microsoft.com/office/drawing/2014/main" id="{1188770A-0D74-1FD7-64AD-E881B47B67EC}"/>
              </a:ext>
            </a:extLst>
          </p:cNvPr>
          <p:cNvSpPr/>
          <p:nvPr/>
        </p:nvSpPr>
        <p:spPr>
          <a:xfrm>
            <a:off x="6009409" y="4851133"/>
            <a:ext cx="1816769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Linker script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C8F77F9-A285-F6C7-46AB-61F8C377F82F}"/>
              </a:ext>
            </a:extLst>
          </p:cNvPr>
          <p:cNvGrpSpPr/>
          <p:nvPr/>
        </p:nvGrpSpPr>
        <p:grpSpPr>
          <a:xfrm>
            <a:off x="8322614" y="4697172"/>
            <a:ext cx="2121569" cy="737937"/>
            <a:chOff x="4079975" y="-887980"/>
            <a:chExt cx="2121569" cy="737937"/>
          </a:xfrm>
        </p:grpSpPr>
        <p:sp>
          <p:nvSpPr>
            <p:cNvPr id="34" name="Scroll: Vertical 33">
              <a:extLst>
                <a:ext uri="{FF2B5EF4-FFF2-40B4-BE49-F238E27FC236}">
                  <a16:creationId xmlns:a16="http://schemas.microsoft.com/office/drawing/2014/main" id="{818AF54C-3093-B857-9828-4A3C8A95CBB5}"/>
                </a:ext>
              </a:extLst>
            </p:cNvPr>
            <p:cNvSpPr/>
            <p:nvPr/>
          </p:nvSpPr>
          <p:spPr>
            <a:xfrm>
              <a:off x="4079975" y="-8879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  <p:sp>
          <p:nvSpPr>
            <p:cNvPr id="35" name="Scroll: Vertical 34">
              <a:extLst>
                <a:ext uri="{FF2B5EF4-FFF2-40B4-BE49-F238E27FC236}">
                  <a16:creationId xmlns:a16="http://schemas.microsoft.com/office/drawing/2014/main" id="{D36C6C92-BD1B-C66C-A04D-E4451660314A}"/>
                </a:ext>
              </a:extLst>
            </p:cNvPr>
            <p:cNvSpPr/>
            <p:nvPr/>
          </p:nvSpPr>
          <p:spPr>
            <a:xfrm>
              <a:off x="4232375" y="-7355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  <p:sp>
          <p:nvSpPr>
            <p:cNvPr id="36" name="Scroll: Vertical 35">
              <a:extLst>
                <a:ext uri="{FF2B5EF4-FFF2-40B4-BE49-F238E27FC236}">
                  <a16:creationId xmlns:a16="http://schemas.microsoft.com/office/drawing/2014/main" id="{348AC24C-E005-1A23-1FA9-78E9EDC3BA14}"/>
                </a:ext>
              </a:extLst>
            </p:cNvPr>
            <p:cNvSpPr/>
            <p:nvPr/>
          </p:nvSpPr>
          <p:spPr>
            <a:xfrm>
              <a:off x="4384775" y="-5831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</p:grpSp>
      <p:sp>
        <p:nvSpPr>
          <p:cNvPr id="40" name="Scroll: Vertical 39">
            <a:extLst>
              <a:ext uri="{FF2B5EF4-FFF2-40B4-BE49-F238E27FC236}">
                <a16:creationId xmlns:a16="http://schemas.microsoft.com/office/drawing/2014/main" id="{74987A51-6637-C138-1D48-88A0D32968F5}"/>
              </a:ext>
            </a:extLst>
          </p:cNvPr>
          <p:cNvSpPr/>
          <p:nvPr/>
        </p:nvSpPr>
        <p:spPr>
          <a:xfrm>
            <a:off x="5526407" y="5966568"/>
            <a:ext cx="1816769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Hexfile</a:t>
            </a:r>
            <a:endParaRPr lang="da-DK" dirty="0">
              <a:solidFill>
                <a:schemeClr val="tx1"/>
              </a:solidFill>
            </a:endParaRPr>
          </a:p>
        </p:txBody>
      </p:sp>
      <p:cxnSp>
        <p:nvCxnSpPr>
          <p:cNvPr id="68" name="Connector: Curved 67">
            <a:extLst>
              <a:ext uri="{FF2B5EF4-FFF2-40B4-BE49-F238E27FC236}">
                <a16:creationId xmlns:a16="http://schemas.microsoft.com/office/drawing/2014/main" id="{32587EED-2CC0-5D51-608A-E305BBCB2C31}"/>
              </a:ext>
            </a:extLst>
          </p:cNvPr>
          <p:cNvCxnSpPr>
            <a:stCxn id="12" idx="2"/>
            <a:endCxn id="20" idx="0"/>
          </p:cNvCxnSpPr>
          <p:nvPr/>
        </p:nvCxnSpPr>
        <p:spPr>
          <a:xfrm rot="16200000" flipH="1">
            <a:off x="3992931" y="1954591"/>
            <a:ext cx="359848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Connector: Curved 69">
            <a:extLst>
              <a:ext uri="{FF2B5EF4-FFF2-40B4-BE49-F238E27FC236}">
                <a16:creationId xmlns:a16="http://schemas.microsoft.com/office/drawing/2014/main" id="{1EB4F27B-B766-6732-3486-A0DD3B707131}"/>
              </a:ext>
            </a:extLst>
          </p:cNvPr>
          <p:cNvCxnSpPr>
            <a:stCxn id="15" idx="2"/>
            <a:endCxn id="21" idx="0"/>
          </p:cNvCxnSpPr>
          <p:nvPr/>
        </p:nvCxnSpPr>
        <p:spPr>
          <a:xfrm rot="16200000" flipH="1">
            <a:off x="5136210" y="1953054"/>
            <a:ext cx="341645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Connector: Curved 71">
            <a:extLst>
              <a:ext uri="{FF2B5EF4-FFF2-40B4-BE49-F238E27FC236}">
                <a16:creationId xmlns:a16="http://schemas.microsoft.com/office/drawing/2014/main" id="{768A4BBA-6DD0-7E55-7EF5-183A420265DA}"/>
              </a:ext>
            </a:extLst>
          </p:cNvPr>
          <p:cNvCxnSpPr>
            <a:stCxn id="20" idx="2"/>
            <a:endCxn id="24" idx="0"/>
          </p:cNvCxnSpPr>
          <p:nvPr/>
        </p:nvCxnSpPr>
        <p:spPr>
          <a:xfrm rot="5400000">
            <a:off x="3993593" y="2746916"/>
            <a:ext cx="358526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Connector: Curved 73">
            <a:extLst>
              <a:ext uri="{FF2B5EF4-FFF2-40B4-BE49-F238E27FC236}">
                <a16:creationId xmlns:a16="http://schemas.microsoft.com/office/drawing/2014/main" id="{3A5927BF-D36F-D2E5-D98A-6D0F567D5E0C}"/>
              </a:ext>
            </a:extLst>
          </p:cNvPr>
          <p:cNvCxnSpPr>
            <a:stCxn id="21" idx="2"/>
            <a:endCxn id="25" idx="0"/>
          </p:cNvCxnSpPr>
          <p:nvPr/>
        </p:nvCxnSpPr>
        <p:spPr>
          <a:xfrm rot="5400000">
            <a:off x="5108326" y="2755720"/>
            <a:ext cx="397413" cy="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Connector: Curved 75">
            <a:extLst>
              <a:ext uri="{FF2B5EF4-FFF2-40B4-BE49-F238E27FC236}">
                <a16:creationId xmlns:a16="http://schemas.microsoft.com/office/drawing/2014/main" id="{6D40CEEE-A005-BF46-7CAF-C1636977E725}"/>
              </a:ext>
            </a:extLst>
          </p:cNvPr>
          <p:cNvCxnSpPr>
            <a:stCxn id="24" idx="2"/>
            <a:endCxn id="28" idx="0"/>
          </p:cNvCxnSpPr>
          <p:nvPr/>
        </p:nvCxnSpPr>
        <p:spPr>
          <a:xfrm rot="16200000" flipH="1">
            <a:off x="3872692" y="4553080"/>
            <a:ext cx="600326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Connector: Curved 77">
            <a:extLst>
              <a:ext uri="{FF2B5EF4-FFF2-40B4-BE49-F238E27FC236}">
                <a16:creationId xmlns:a16="http://schemas.microsoft.com/office/drawing/2014/main" id="{8FD97F9C-E50F-E009-3237-D721ED16194A}"/>
              </a:ext>
            </a:extLst>
          </p:cNvPr>
          <p:cNvCxnSpPr>
            <a:endCxn id="29" idx="0"/>
          </p:cNvCxnSpPr>
          <p:nvPr/>
        </p:nvCxnSpPr>
        <p:spPr>
          <a:xfrm rot="5400000">
            <a:off x="5026006" y="4562194"/>
            <a:ext cx="568405" cy="635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Connector: Curved 79">
            <a:extLst>
              <a:ext uri="{FF2B5EF4-FFF2-40B4-BE49-F238E27FC236}">
                <a16:creationId xmlns:a16="http://schemas.microsoft.com/office/drawing/2014/main" id="{078EB637-B1E7-E20A-0BE2-32E3B5B99772}"/>
              </a:ext>
            </a:extLst>
          </p:cNvPr>
          <p:cNvCxnSpPr>
            <a:stCxn id="28" idx="2"/>
            <a:endCxn id="40" idx="0"/>
          </p:cNvCxnSpPr>
          <p:nvPr/>
        </p:nvCxnSpPr>
        <p:spPr>
          <a:xfrm rot="16200000" flipH="1">
            <a:off x="4963731" y="4495506"/>
            <a:ext cx="680187" cy="2261936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Connector: Curved 85">
            <a:extLst>
              <a:ext uri="{FF2B5EF4-FFF2-40B4-BE49-F238E27FC236}">
                <a16:creationId xmlns:a16="http://schemas.microsoft.com/office/drawing/2014/main" id="{05841ADC-8998-3439-CBDA-2EC3BB0AA23D}"/>
              </a:ext>
            </a:extLst>
          </p:cNvPr>
          <p:cNvCxnSpPr>
            <a:stCxn id="29" idx="2"/>
            <a:endCxn id="40" idx="0"/>
          </p:cNvCxnSpPr>
          <p:nvPr/>
        </p:nvCxnSpPr>
        <p:spPr>
          <a:xfrm rot="16200000" flipH="1">
            <a:off x="5528983" y="5060758"/>
            <a:ext cx="683859" cy="1127760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Connector: Curved 87">
            <a:extLst>
              <a:ext uri="{FF2B5EF4-FFF2-40B4-BE49-F238E27FC236}">
                <a16:creationId xmlns:a16="http://schemas.microsoft.com/office/drawing/2014/main" id="{0D84548E-4D9C-B14F-3529-62CAB15BA0D8}"/>
              </a:ext>
            </a:extLst>
          </p:cNvPr>
          <p:cNvCxnSpPr>
            <a:stCxn id="33" idx="2"/>
            <a:endCxn id="40" idx="0"/>
          </p:cNvCxnSpPr>
          <p:nvPr/>
        </p:nvCxnSpPr>
        <p:spPr>
          <a:xfrm rot="5400000">
            <a:off x="6340010" y="5379052"/>
            <a:ext cx="672566" cy="48300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Connector: Curved 89">
            <a:extLst>
              <a:ext uri="{FF2B5EF4-FFF2-40B4-BE49-F238E27FC236}">
                <a16:creationId xmlns:a16="http://schemas.microsoft.com/office/drawing/2014/main" id="{5876BBAF-1F4A-C515-B782-BC34367FB7B0}"/>
              </a:ext>
            </a:extLst>
          </p:cNvPr>
          <p:cNvCxnSpPr>
            <a:endCxn id="40" idx="0"/>
          </p:cNvCxnSpPr>
          <p:nvPr/>
        </p:nvCxnSpPr>
        <p:spPr>
          <a:xfrm rot="10800000" flipV="1">
            <a:off x="6434792" y="5435108"/>
            <a:ext cx="3101006" cy="531459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Arrow: Right 3">
            <a:extLst>
              <a:ext uri="{FF2B5EF4-FFF2-40B4-BE49-F238E27FC236}">
                <a16:creationId xmlns:a16="http://schemas.microsoft.com/office/drawing/2014/main" id="{99B31799-E3D7-DE1E-5D07-B42EE8852BB6}"/>
              </a:ext>
            </a:extLst>
          </p:cNvPr>
          <p:cNvSpPr/>
          <p:nvPr/>
        </p:nvSpPr>
        <p:spPr>
          <a:xfrm>
            <a:off x="738532" y="3333132"/>
            <a:ext cx="579967" cy="569329"/>
          </a:xfrm>
          <a:prstGeom prst="rightArrow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1600" noProof="0" dirty="0" err="1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5224258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1056" y="1715732"/>
            <a:ext cx="8513763" cy="2524143"/>
          </a:xfrm>
        </p:spPr>
        <p:txBody>
          <a:bodyPr/>
          <a:lstStyle/>
          <a:p>
            <a:r>
              <a:rPr lang="en-GB" dirty="0"/>
              <a:t>Compil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320DA48F-5B2E-4C74-8979-179280FDF9B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0726" y="3254369"/>
            <a:ext cx="6750118" cy="2640593"/>
          </a:xfrm>
        </p:spPr>
        <p:txBody>
          <a:bodyPr/>
          <a:lstStyle/>
          <a:p>
            <a:r>
              <a:rPr lang="en-GB" sz="2000" dirty="0"/>
              <a:t>Checks syntax</a:t>
            </a:r>
          </a:p>
          <a:p>
            <a:r>
              <a:rPr lang="en-GB" sz="2000" dirty="0"/>
              <a:t>Checks semantics</a:t>
            </a:r>
          </a:p>
          <a:p>
            <a:r>
              <a:rPr lang="en-GB" sz="2000" dirty="0"/>
              <a:t>Generates machine code</a:t>
            </a:r>
          </a:p>
          <a:p>
            <a:r>
              <a:rPr lang="en-GB" sz="2000" dirty="0"/>
              <a:t>Probably most errors originates here</a:t>
            </a:r>
          </a:p>
          <a:p>
            <a:endParaRPr lang="en-GB" sz="2000" dirty="0"/>
          </a:p>
        </p:txBody>
      </p:sp>
      <p:pic>
        <p:nvPicPr>
          <p:cNvPr id="8" name="Picture 7" descr="Several smoke stacks with smoke coming out of them&#10;&#10;AI-generated content may be incorrect.">
            <a:extLst>
              <a:ext uri="{FF2B5EF4-FFF2-40B4-BE49-F238E27FC236}">
                <a16:creationId xmlns:a16="http://schemas.microsoft.com/office/drawing/2014/main" id="{BD8A1DD9-BF5B-8A03-C7A6-93323F7C21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962" y="1782748"/>
            <a:ext cx="5690319" cy="38086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2AB8530-9BD9-9D61-8672-8980EE307E1B}"/>
              </a:ext>
            </a:extLst>
          </p:cNvPr>
          <p:cNvSpPr txBox="1"/>
          <p:nvPr/>
        </p:nvSpPr>
        <p:spPr>
          <a:xfrm rot="20089467">
            <a:off x="6792718" y="1905713"/>
            <a:ext cx="123781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 err="1">
                <a:solidFill>
                  <a:srgbClr val="FAFCE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guet Script" panose="020F0502020204030204" pitchFamily="2" charset="0"/>
              </a:rPr>
              <a:t>We</a:t>
            </a:r>
            <a:r>
              <a:rPr lang="da-DK" sz="1600" dirty="0">
                <a:solidFill>
                  <a:srgbClr val="FAFCE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guet Script" panose="020F0502020204030204" pitchFamily="2" charset="0"/>
              </a:rPr>
              <a:t> do </a:t>
            </a:r>
            <a:r>
              <a:rPr lang="da-DK" sz="1600" dirty="0" err="1">
                <a:solidFill>
                  <a:srgbClr val="FAFCE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guet Script" panose="020F0502020204030204" pitchFamily="2" charset="0"/>
              </a:rPr>
              <a:t>geothermal</a:t>
            </a:r>
            <a:r>
              <a:rPr lang="da-DK" sz="1600" dirty="0">
                <a:solidFill>
                  <a:srgbClr val="FAFCE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guet Script" panose="020F0502020204030204" pitchFamily="2" charset="0"/>
              </a:rPr>
              <a:t> </a:t>
            </a:r>
            <a:r>
              <a:rPr lang="da-DK" sz="1600" dirty="0" err="1">
                <a:solidFill>
                  <a:srgbClr val="FAFCE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guet Script" panose="020F0502020204030204" pitchFamily="2" charset="0"/>
              </a:rPr>
              <a:t>too</a:t>
            </a:r>
            <a:r>
              <a:rPr lang="da-DK" sz="1600" dirty="0">
                <a:solidFill>
                  <a:srgbClr val="FAFCE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guet Script" panose="020F0502020204030204" pitchFamily="2" charset="0"/>
              </a:rPr>
              <a:t>… 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1DD6259-43E9-6F12-81C9-FA38667807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5703220" flipH="1">
            <a:off x="6293846" y="2763458"/>
            <a:ext cx="847411" cy="43051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280242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ilation – Syntax and Semantics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200DAA00-8AE7-4358-9B30-BE0FAF562F80}"/>
              </a:ext>
            </a:extLst>
          </p:cNvPr>
          <p:cNvSpPr>
            <a:spLocks noGrp="1"/>
          </p:cNvSpPr>
          <p:nvPr>
            <p:ph type="subTitle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320DA48F-5B2E-4C74-8979-179280FDF9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4220879"/>
            <a:ext cx="11309350" cy="414621"/>
          </a:xfrm>
        </p:spPr>
        <p:txBody>
          <a:bodyPr/>
          <a:lstStyle/>
          <a:p>
            <a:pPr marL="0" indent="0" algn="ctr">
              <a:buNone/>
            </a:pPr>
            <a:r>
              <a:rPr lang="en-GB" sz="2000" dirty="0">
                <a:latin typeface="Aptos Mono" panose="020B0009020202020204" pitchFamily="49" charset="0"/>
              </a:rPr>
              <a:t> </a:t>
            </a:r>
            <a:r>
              <a:rPr lang="en-US" sz="2000" dirty="0">
                <a:latin typeface="Aptos Mono" panose="020B0009020202020204" pitchFamily="49" charset="0"/>
              </a:rPr>
              <a:t> error: invalid type argument of unary ‘*’ (have ‘int’)</a:t>
            </a:r>
          </a:p>
          <a:p>
            <a:pPr marL="0" indent="0">
              <a:buNone/>
            </a:pPr>
            <a:endParaRPr lang="en-US" sz="2000" dirty="0">
              <a:latin typeface="Aptos Mono" panose="020B0009020202020204" pitchFamily="49" charset="0"/>
            </a:endParaRPr>
          </a:p>
          <a:p>
            <a:pPr marL="0" indent="0">
              <a:buNone/>
            </a:pPr>
            <a:endParaRPr lang="en-GB" sz="2000" dirty="0">
              <a:latin typeface="Aptos Mono" panose="020B0009020202020204" pitchFamily="49" charset="0"/>
            </a:endParaRPr>
          </a:p>
          <a:p>
            <a:pPr marL="0" indent="0">
              <a:buNone/>
            </a:pPr>
            <a:r>
              <a:rPr lang="en-GB" sz="2000" dirty="0">
                <a:latin typeface="Aptos Mono" panose="020B0009020202020204" pitchFamily="49" charset="0"/>
              </a:rPr>
              <a:t>	</a:t>
            </a:r>
          </a:p>
          <a:p>
            <a:pPr marL="0" indent="0">
              <a:buNone/>
            </a:pPr>
            <a:endParaRPr lang="en-GB" sz="2000" dirty="0">
              <a:latin typeface="Aptos Mono" panose="020B0009020202020204" pitchFamily="49" charset="0"/>
            </a:endParaRPr>
          </a:p>
          <a:p>
            <a:pPr marL="0" indent="0">
              <a:buNone/>
            </a:pPr>
            <a:endParaRPr lang="en-GB" sz="2000" dirty="0">
              <a:latin typeface="Aptos Mono" panose="020B0009020202020204" pitchFamily="49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9A59247C-6786-018F-0C5A-EC9584F079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3400" y="2505670"/>
            <a:ext cx="328930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=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17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=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13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=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+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/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*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039367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CF94D2-AB02-1565-18B5-0CFA5C5D37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8D6605C0-B1FB-0A2D-5567-7B38314C45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ilation – Syntax and Semantic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118336-B437-24B3-BF5E-E9BE5B914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AAADFC-A7EA-87C1-905A-1B64712C7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1AAAF7-97FD-2EF2-6546-6F4E16186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31167C-BDB9-2CBF-4008-263564C4238D}"/>
              </a:ext>
            </a:extLst>
          </p:cNvPr>
          <p:cNvSpPr txBox="1"/>
          <p:nvPr/>
        </p:nvSpPr>
        <p:spPr>
          <a:xfrm>
            <a:off x="3048000" y="4202552"/>
            <a:ext cx="609600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000" dirty="0">
                <a:latin typeface="Aptos Mono" panose="020B0009020202020204" pitchFamily="49" charset="0"/>
              </a:rPr>
              <a:t>main.cpp:9:19: </a:t>
            </a:r>
            <a:r>
              <a:rPr lang="da-DK" sz="2000" dirty="0" err="1">
                <a:latin typeface="Aptos Mono" panose="020B0009020202020204" pitchFamily="49" charset="0"/>
              </a:rPr>
              <a:t>error</a:t>
            </a:r>
            <a:r>
              <a:rPr lang="da-DK" sz="2000" dirty="0">
                <a:latin typeface="Aptos Mono" panose="020B0009020202020204" pitchFamily="49" charset="0"/>
              </a:rPr>
              <a:t>: no match for ‘operator+’ (</a:t>
            </a:r>
            <a:r>
              <a:rPr lang="da-DK" sz="2000" dirty="0" err="1">
                <a:latin typeface="Aptos Mono" panose="020B0009020202020204" pitchFamily="49" charset="0"/>
              </a:rPr>
              <a:t>operand</a:t>
            </a:r>
            <a:r>
              <a:rPr lang="da-DK" sz="2000" dirty="0">
                <a:latin typeface="Aptos Mono" panose="020B0009020202020204" pitchFamily="49" charset="0"/>
              </a:rPr>
              <a:t> types </a:t>
            </a:r>
            <a:r>
              <a:rPr lang="da-DK" sz="2000" dirty="0" err="1">
                <a:latin typeface="Aptos Mono" panose="020B0009020202020204" pitchFamily="49" charset="0"/>
              </a:rPr>
              <a:t>are</a:t>
            </a:r>
            <a:r>
              <a:rPr lang="da-DK" sz="2000" dirty="0">
                <a:latin typeface="Aptos Mono" panose="020B0009020202020204" pitchFamily="49" charset="0"/>
              </a:rPr>
              <a:t> ‘</a:t>
            </a:r>
            <a:r>
              <a:rPr lang="da-DK" sz="2000" dirty="0" err="1">
                <a:latin typeface="Aptos Mono" panose="020B0009020202020204" pitchFamily="49" charset="0"/>
              </a:rPr>
              <a:t>BucketOfPaint</a:t>
            </a:r>
            <a:r>
              <a:rPr lang="da-DK" sz="2000" dirty="0">
                <a:latin typeface="Aptos Mono" panose="020B0009020202020204" pitchFamily="49" charset="0"/>
              </a:rPr>
              <a:t>’ and ‘Horse’)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9 |     </a:t>
            </a:r>
            <a:r>
              <a:rPr lang="da-DK" sz="2000" dirty="0" err="1">
                <a:latin typeface="Aptos Mono" panose="020B0009020202020204" pitchFamily="49" charset="0"/>
              </a:rPr>
              <a:t>int</a:t>
            </a:r>
            <a:r>
              <a:rPr lang="da-DK" sz="2000" dirty="0">
                <a:latin typeface="Aptos Mono" panose="020B0009020202020204" pitchFamily="49" charset="0"/>
              </a:rPr>
              <a:t> c = green + hidalgo;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  |             ~~~~~ ^ ~~~~~~~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  |             |       |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  |             |       Horse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  |             </a:t>
            </a:r>
            <a:r>
              <a:rPr lang="da-DK" sz="2000" dirty="0" err="1">
                <a:latin typeface="Aptos Mono" panose="020B0009020202020204" pitchFamily="49" charset="0"/>
              </a:rPr>
              <a:t>BucketOfPaint</a:t>
            </a:r>
            <a:endParaRPr lang="da-DK" sz="2000" dirty="0">
              <a:latin typeface="Aptos Mono" panose="020B0009020202020204" pitchFamily="49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2C6EFC8C-A8E0-1E18-17E5-4A6050366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2500" y="758330"/>
            <a:ext cx="7651750" cy="3385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rgbClr val="808000"/>
              </a:solidFill>
              <a:effectLst/>
              <a:latin typeface="Aptos Mono" panose="020B000902020202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clas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BucketOfPa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}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clas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Hors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};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BucketOfPa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gree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Hors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hidalg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=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gree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+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hidalg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868535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34FD0926-0769-44C7-822A-107D786BF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1587500"/>
            <a:ext cx="2597513" cy="4532500"/>
          </a:xfrm>
        </p:spPr>
        <p:txBody>
          <a:bodyPr/>
          <a:lstStyle/>
          <a:p>
            <a:r>
              <a:rPr lang="en-GB" dirty="0"/>
              <a:t>What we will cover toda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CD1A950-5E72-432C-AB5D-A3D77DE255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17511" y="1587500"/>
            <a:ext cx="7528290" cy="4550500"/>
          </a:xfrm>
        </p:spPr>
        <p:txBody>
          <a:bodyPr/>
          <a:lstStyle/>
          <a:p>
            <a:r>
              <a:rPr lang="en-US" dirty="0"/>
              <a:t>Overview</a:t>
            </a:r>
          </a:p>
          <a:p>
            <a:r>
              <a:rPr lang="en-US" dirty="0"/>
              <a:t>Preprocessing</a:t>
            </a:r>
          </a:p>
          <a:p>
            <a:r>
              <a:rPr lang="en-US" dirty="0"/>
              <a:t>Compilation</a:t>
            </a:r>
          </a:p>
          <a:p>
            <a:r>
              <a:rPr lang="en-US" dirty="0"/>
              <a:t>Linking</a:t>
            </a:r>
          </a:p>
          <a:p>
            <a:r>
              <a:rPr lang="en-US" dirty="0"/>
              <a:t>Flashing</a:t>
            </a:r>
          </a:p>
          <a:p>
            <a:pPr>
              <a:buNone/>
            </a:pPr>
            <a:r>
              <a:rPr lang="en-US"/>
              <a:t>Questions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9BF9DE-8095-4F50-9DAB-6C89D78D57E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218738" y="360000"/>
            <a:ext cx="1244624" cy="360000"/>
          </a:xfrm>
        </p:spPr>
        <p:txBody>
          <a:bodyPr/>
          <a:lstStyle/>
          <a:p>
            <a:fld id="{87BD0EB1-ED28-4DED-86DC-F8CC0084765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DB3622-CE8C-48CE-A7AF-A4F4260536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1950" y="360000"/>
            <a:ext cx="3581400" cy="36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F571ED-2211-4468-B566-DD1AF4E0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64925" y="360000"/>
            <a:ext cx="366713" cy="360000"/>
          </a:xfrm>
        </p:spPr>
        <p:txBody>
          <a:bodyPr/>
          <a:lstStyle/>
          <a:p>
            <a:fld id="{23AA811B-2EBD-4900-905E-5BE206449611}" type="slidenum">
              <a:rPr lang="en-GB" smtClean="0"/>
              <a:pPr/>
              <a:t>2</a:t>
            </a:fld>
            <a:endParaRPr lang="en-GB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03282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727BAD-B184-CD45-515D-9C85094DBE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93DFA8B-DFD0-1111-3904-105FCD21A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ilation – Syntax and Semantic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2D2F9D-D4CD-732C-2813-FF89B2D46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3BBA6B-188E-64D1-749A-1145FB54E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9C80C0-9E75-577C-1BD8-E5A50F890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892CB7-13C1-4EB3-1893-448E018980D9}"/>
              </a:ext>
            </a:extLst>
          </p:cNvPr>
          <p:cNvSpPr txBox="1"/>
          <p:nvPr/>
        </p:nvSpPr>
        <p:spPr>
          <a:xfrm>
            <a:off x="2349500" y="4545452"/>
            <a:ext cx="74930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Aptos Mono" panose="020B0009020202020204" pitchFamily="49" charset="0"/>
              </a:rPr>
              <a:t>error: ‘b’ was not declared in this scope</a:t>
            </a:r>
          </a:p>
          <a:p>
            <a:r>
              <a:rPr lang="en-US" sz="2000" dirty="0">
                <a:latin typeface="Aptos Mono" panose="020B0009020202020204" pitchFamily="49" charset="0"/>
              </a:rPr>
              <a:t>    4 |     int c = a + b;</a:t>
            </a:r>
            <a:endParaRPr lang="da-DK" sz="2000" dirty="0">
              <a:latin typeface="Aptos Mono" panose="020B0009020202020204" pitchFamily="49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65D7D2C-2D4B-3A35-C433-8593B34CF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2850" y="1553974"/>
            <a:ext cx="5314950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rgbClr val="808000"/>
              </a:solidFill>
              <a:effectLst/>
              <a:latin typeface="Aptos Mono" panose="020B000902020202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=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17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=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+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b;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0224669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0C30FA-40F5-C996-6CA9-ADD11BBD68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5">
            <a:extLst>
              <a:ext uri="{FF2B5EF4-FFF2-40B4-BE49-F238E27FC236}">
                <a16:creationId xmlns:a16="http://schemas.microsoft.com/office/drawing/2014/main" id="{111F7B4A-880F-A192-8BBF-533E30800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The 3⅛” tractor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A36FF6D-DFFE-DEF3-92CD-D2D88AB5B47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8DFD56B-6F7F-1C03-74D1-9B2B1541CD7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5A0F4C-04BC-C895-C7E7-8E2D449ECF1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EF4E47-E181-E476-6B14-028FF93540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916478-DD17-8463-0030-5E6EE5B86F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1</a:t>
            </a:fld>
            <a:endParaRPr lang="en-GB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3455494E-0FA2-FF8C-B738-9666085A3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93" r="20293"/>
          <a:stretch/>
        </p:blipFill>
        <p:spPr bwMode="auto">
          <a:xfrm>
            <a:off x="856648" y="720000"/>
            <a:ext cx="4793381" cy="53777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42454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57D20A-AFAF-D94B-2DF1-4A67A47010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14CD137-B8EE-BC0C-378D-256615264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ilation – Definition and Declar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35BB35-4F7D-4E7B-3944-DD6571350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C6A839-8A9C-C212-C420-B62AB4FA2C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26C0D9-CB7F-D8D1-31B1-6F0708CD5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7431CE-F17C-C9D8-2560-954F2339BC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100" y="2346427"/>
            <a:ext cx="531495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rgbClr val="808000"/>
              </a:solidFill>
              <a:effectLst/>
              <a:latin typeface="Aptos Mono" panose="020B0009020202020204" pitchFamily="49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addNumbers</a:t>
            </a:r>
            <a:r>
              <a:rPr lang="da-DK" altLang="da-DK" sz="2000" dirty="0">
                <a:latin typeface="Aptos Mono" panose="020B0009020202020204" pitchFamily="49" charset="0"/>
              </a:rPr>
              <a:t>(</a:t>
            </a:r>
            <a:r>
              <a:rPr lang="da-DK" altLang="da-DK" sz="2000" dirty="0" err="1">
                <a:solidFill>
                  <a:srgbClr val="808000"/>
                </a:solidFill>
                <a:latin typeface="Aptos Mono" panose="020B0009020202020204" pitchFamily="49" charset="0"/>
              </a:rPr>
              <a:t>int</a:t>
            </a:r>
            <a:r>
              <a:rPr lang="da-DK" altLang="da-DK" sz="2000" dirty="0">
                <a:solidFill>
                  <a:srgbClr val="808000"/>
                </a:solidFill>
                <a:latin typeface="Aptos Mono" panose="020B0009020202020204" pitchFamily="49" charset="0"/>
              </a:rPr>
              <a:t> </a:t>
            </a:r>
            <a:r>
              <a:rPr lang="da-DK" altLang="da-DK" sz="2000" b="1" dirty="0">
                <a:solidFill>
                  <a:srgbClr val="092E64"/>
                </a:solidFill>
                <a:latin typeface="Aptos Mono" panose="020B0009020202020204" pitchFamily="49" charset="0"/>
              </a:rPr>
              <a:t>a</a:t>
            </a:r>
            <a:r>
              <a:rPr lang="da-DK" altLang="da-DK" sz="2000" dirty="0">
                <a:solidFill>
                  <a:srgbClr val="808000"/>
                </a:solidFill>
                <a:latin typeface="Aptos Mono" panose="020B0009020202020204" pitchFamily="49" charset="0"/>
              </a:rPr>
              <a:t>, </a:t>
            </a:r>
            <a:r>
              <a:rPr lang="da-DK" altLang="da-DK" sz="2000" dirty="0" err="1">
                <a:solidFill>
                  <a:srgbClr val="808000"/>
                </a:solidFill>
                <a:latin typeface="Aptos Mono" panose="020B0009020202020204" pitchFamily="49" charset="0"/>
              </a:rPr>
              <a:t>int</a:t>
            </a:r>
            <a:r>
              <a:rPr lang="da-DK" altLang="da-DK" sz="2000" dirty="0">
                <a:solidFill>
                  <a:srgbClr val="808000"/>
                </a:solidFill>
                <a:latin typeface="Aptos Mono" panose="020B0009020202020204" pitchFamily="49" charset="0"/>
              </a:rPr>
              <a:t> </a:t>
            </a:r>
            <a:r>
              <a:rPr lang="da-DK" altLang="da-DK" sz="2000" b="1" dirty="0">
                <a:solidFill>
                  <a:srgbClr val="092E64"/>
                </a:solidFill>
                <a:latin typeface="Aptos Mono" panose="020B0009020202020204" pitchFamily="49" charset="0"/>
              </a:rPr>
              <a:t>b</a:t>
            </a:r>
            <a:r>
              <a:rPr lang="da-DK" altLang="da-DK" sz="2000" dirty="0">
                <a:latin typeface="Aptos Mono" panose="020B0009020202020204" pitchFamily="49" charset="0"/>
              </a:rPr>
              <a:t>);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9C2825-5F01-FCDA-EC15-8E3006B84868}"/>
              </a:ext>
            </a:extLst>
          </p:cNvPr>
          <p:cNvSpPr txBox="1"/>
          <p:nvPr/>
        </p:nvSpPr>
        <p:spPr>
          <a:xfrm>
            <a:off x="355600" y="1937466"/>
            <a:ext cx="44767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dirty="0"/>
              <a:t>Declaration</a:t>
            </a:r>
            <a:endParaRPr lang="da-DK" sz="2000" dirty="0" err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830739-C6F5-09F7-7AAA-268A5F5879E5}"/>
              </a:ext>
            </a:extLst>
          </p:cNvPr>
          <p:cNvSpPr txBox="1"/>
          <p:nvPr/>
        </p:nvSpPr>
        <p:spPr>
          <a:xfrm>
            <a:off x="419100" y="4517373"/>
            <a:ext cx="447675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i="1" dirty="0"/>
              <a:t>Dear compiler! </a:t>
            </a:r>
          </a:p>
          <a:p>
            <a:pPr algn="ctr"/>
            <a:r>
              <a:rPr lang="en-GB" sz="2000" i="1" dirty="0"/>
              <a:t>This function will be available later. And you can assume it exist.</a:t>
            </a:r>
          </a:p>
          <a:p>
            <a:pPr algn="ctr"/>
            <a:endParaRPr lang="en-GB" sz="2000" i="1" dirty="0"/>
          </a:p>
          <a:p>
            <a:pPr algn="ctr"/>
            <a:r>
              <a:rPr lang="en-GB" sz="2000" i="1" dirty="0"/>
              <a:t>I promise!</a:t>
            </a:r>
            <a:endParaRPr lang="da-DK" sz="2000" i="1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F6251D-3DF6-0D8B-ED5D-3F9C060E0013}"/>
              </a:ext>
            </a:extLst>
          </p:cNvPr>
          <p:cNvSpPr txBox="1"/>
          <p:nvPr/>
        </p:nvSpPr>
        <p:spPr>
          <a:xfrm>
            <a:off x="6565902" y="1937466"/>
            <a:ext cx="44767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dirty="0"/>
              <a:t>Definition</a:t>
            </a:r>
            <a:endParaRPr lang="da-DK" sz="20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D4EB8D-69A8-318B-78C7-0BA689E807DD}"/>
              </a:ext>
            </a:extLst>
          </p:cNvPr>
          <p:cNvSpPr txBox="1"/>
          <p:nvPr/>
        </p:nvSpPr>
        <p:spPr>
          <a:xfrm>
            <a:off x="6629402" y="4517373"/>
            <a:ext cx="4476750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i="1" dirty="0"/>
              <a:t>Dear compiler! </a:t>
            </a:r>
          </a:p>
          <a:p>
            <a:pPr algn="ctr"/>
            <a:r>
              <a:rPr lang="en-GB" sz="2000" i="1" dirty="0"/>
              <a:t>This is how </a:t>
            </a:r>
            <a:br>
              <a:rPr lang="en-GB" sz="2000" i="1" dirty="0"/>
            </a:br>
            <a:r>
              <a:rPr lang="da-DK" altLang="da-DK" sz="2000" dirty="0" err="1">
                <a:solidFill>
                  <a:srgbClr val="808000"/>
                </a:solidFill>
                <a:latin typeface="Aptos Mono" panose="020B0009020202020204" pitchFamily="49" charset="0"/>
              </a:rPr>
              <a:t>int</a:t>
            </a:r>
            <a:r>
              <a:rPr lang="da-DK" altLang="da-DK" sz="2000" dirty="0">
                <a:solidFill>
                  <a:srgbClr val="808000"/>
                </a:solidFill>
                <a:latin typeface="Aptos Mono" panose="020B0009020202020204" pitchFamily="49" charset="0"/>
              </a:rPr>
              <a:t> </a:t>
            </a:r>
            <a:r>
              <a:rPr lang="da-DK" altLang="da-DK" sz="2000" b="1" dirty="0" err="1">
                <a:solidFill>
                  <a:srgbClr val="00677C"/>
                </a:solidFill>
                <a:latin typeface="Aptos Mono" panose="020B0009020202020204" pitchFamily="49" charset="0"/>
              </a:rPr>
              <a:t>addNumbers</a:t>
            </a:r>
            <a:r>
              <a:rPr lang="da-DK" altLang="da-DK" sz="2000" dirty="0">
                <a:latin typeface="Aptos Mono" panose="020B0009020202020204" pitchFamily="49" charset="0"/>
              </a:rPr>
              <a:t>(</a:t>
            </a:r>
            <a:r>
              <a:rPr lang="da-DK" altLang="da-DK" sz="2000" dirty="0" err="1">
                <a:solidFill>
                  <a:srgbClr val="808000"/>
                </a:solidFill>
                <a:latin typeface="Aptos Mono" panose="020B0009020202020204" pitchFamily="49" charset="0"/>
              </a:rPr>
              <a:t>int</a:t>
            </a:r>
            <a:r>
              <a:rPr lang="da-DK" altLang="da-DK" sz="2000" dirty="0">
                <a:solidFill>
                  <a:srgbClr val="C0C0C0"/>
                </a:solidFill>
                <a:latin typeface="Aptos Mono" panose="020B0009020202020204" pitchFamily="49" charset="0"/>
              </a:rPr>
              <a:t> </a:t>
            </a:r>
            <a:r>
              <a:rPr lang="da-DK" altLang="da-DK" sz="2000" b="1" dirty="0">
                <a:solidFill>
                  <a:srgbClr val="092E64"/>
                </a:solidFill>
                <a:latin typeface="Aptos Mono" panose="020B0009020202020204" pitchFamily="49" charset="0"/>
              </a:rPr>
              <a:t>a</a:t>
            </a:r>
            <a:r>
              <a:rPr lang="da-DK" altLang="da-DK" sz="2000" dirty="0">
                <a:latin typeface="Aptos Mono" panose="020B0009020202020204" pitchFamily="49" charset="0"/>
              </a:rPr>
              <a:t>,</a:t>
            </a:r>
            <a:r>
              <a:rPr lang="da-DK" altLang="da-DK" sz="2000" dirty="0">
                <a:solidFill>
                  <a:srgbClr val="C0C0C0"/>
                </a:solidFill>
                <a:latin typeface="Aptos Mono" panose="020B0009020202020204" pitchFamily="49" charset="0"/>
              </a:rPr>
              <a:t> </a:t>
            </a:r>
            <a:r>
              <a:rPr lang="da-DK" altLang="da-DK" sz="2000" dirty="0" err="1">
                <a:solidFill>
                  <a:srgbClr val="808000"/>
                </a:solidFill>
                <a:latin typeface="Aptos Mono" panose="020B0009020202020204" pitchFamily="49" charset="0"/>
              </a:rPr>
              <a:t>int</a:t>
            </a:r>
            <a:r>
              <a:rPr lang="da-DK" altLang="da-DK" sz="2000" dirty="0">
                <a:solidFill>
                  <a:srgbClr val="C0C0C0"/>
                </a:solidFill>
                <a:latin typeface="Aptos Mono" panose="020B0009020202020204" pitchFamily="49" charset="0"/>
              </a:rPr>
              <a:t> </a:t>
            </a:r>
            <a:r>
              <a:rPr lang="da-DK" altLang="da-DK" sz="2000" b="1" dirty="0">
                <a:solidFill>
                  <a:srgbClr val="092E64"/>
                </a:solidFill>
                <a:latin typeface="Aptos Mono" panose="020B0009020202020204" pitchFamily="49" charset="0"/>
              </a:rPr>
              <a:t>b</a:t>
            </a:r>
            <a:r>
              <a:rPr lang="da-DK" altLang="da-DK" sz="2000" dirty="0">
                <a:latin typeface="Aptos Mono" panose="020B0009020202020204" pitchFamily="49" charset="0"/>
              </a:rPr>
              <a:t>)</a:t>
            </a:r>
            <a:r>
              <a:rPr lang="en-GB" sz="2000" i="1" dirty="0"/>
              <a:t> </a:t>
            </a:r>
            <a:br>
              <a:rPr lang="en-GB" sz="2000" i="1" dirty="0"/>
            </a:br>
            <a:r>
              <a:rPr lang="en-GB" sz="2000" i="1" dirty="0"/>
              <a:t>works.</a:t>
            </a:r>
          </a:p>
          <a:p>
            <a:pPr algn="ctr"/>
            <a:r>
              <a:rPr lang="en-GB" sz="2000" i="1" dirty="0"/>
              <a:t>Please create it and we might use it later</a:t>
            </a:r>
            <a:endParaRPr lang="da-DK" sz="2000" i="1" dirty="0" err="1"/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7E713D7D-9C01-F75F-EA8B-66592B0344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9402" y="2961980"/>
            <a:ext cx="446276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addNumber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,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)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   retur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+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8437114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ilation – Over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3</a:t>
            </a:fld>
            <a:endParaRPr lang="en-GB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6D3A738-2384-41BE-5610-4C6775FC28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1252727"/>
              </p:ext>
            </p:extLst>
          </p:nvPr>
        </p:nvGraphicFramePr>
        <p:xfrm>
          <a:off x="364615" y="1253310"/>
          <a:ext cx="11469689" cy="3657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853476560"/>
                    </a:ext>
                  </a:extLst>
                </a:gridCol>
                <a:gridCol w="2642041">
                  <a:extLst>
                    <a:ext uri="{9D8B030D-6E8A-4147-A177-3AD203B41FA5}">
                      <a16:colId xmlns:a16="http://schemas.microsoft.com/office/drawing/2014/main" val="276290816"/>
                    </a:ext>
                  </a:extLst>
                </a:gridCol>
                <a:gridCol w="310709">
                  <a:extLst>
                    <a:ext uri="{9D8B030D-6E8A-4147-A177-3AD203B41FA5}">
                      <a16:colId xmlns:a16="http://schemas.microsoft.com/office/drawing/2014/main" val="1868394032"/>
                    </a:ext>
                  </a:extLst>
                </a:gridCol>
                <a:gridCol w="2618978">
                  <a:extLst>
                    <a:ext uri="{9D8B030D-6E8A-4147-A177-3AD203B41FA5}">
                      <a16:colId xmlns:a16="http://schemas.microsoft.com/office/drawing/2014/main" val="4069083708"/>
                    </a:ext>
                  </a:extLst>
                </a:gridCol>
                <a:gridCol w="2849961">
                  <a:extLst>
                    <a:ext uri="{9D8B030D-6E8A-4147-A177-3AD203B41FA5}">
                      <a16:colId xmlns:a16="http://schemas.microsoft.com/office/drawing/2014/main" val="4218296967"/>
                    </a:ext>
                  </a:extLst>
                </a:gridCol>
              </a:tblGrid>
              <a:tr h="275981">
                <a:tc>
                  <a:txBody>
                    <a:bodyPr/>
                    <a:lstStyle/>
                    <a:p>
                      <a:r>
                        <a:rPr lang="da-DK" dirty="0" err="1"/>
                        <a:t>expected</a:t>
                      </a:r>
                      <a:r>
                        <a:rPr lang="da-DK" dirty="0"/>
                        <a:t> ';' </a:t>
                      </a:r>
                      <a:r>
                        <a:rPr lang="da-DK" dirty="0" err="1"/>
                        <a:t>before</a:t>
                      </a:r>
                      <a:r>
                        <a:rPr lang="da-DK" dirty="0"/>
                        <a:t> '}' </a:t>
                      </a:r>
                      <a:r>
                        <a:rPr lang="da-DK" dirty="0" err="1"/>
                        <a:t>token</a:t>
                      </a:r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dirty="0" err="1">
                          <a:latin typeface="Aptos Mono" panose="020B0009020202020204" pitchFamily="49" charset="0"/>
                        </a:rPr>
                        <a:t>int</a:t>
                      </a:r>
                      <a:r>
                        <a:rPr lang="da-DK" dirty="0">
                          <a:latin typeface="Aptos Mono" panose="020B0009020202020204" pitchFamily="49" charset="0"/>
                        </a:rPr>
                        <a:t> x =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 err="1"/>
                        <a:t>assignment</a:t>
                      </a:r>
                      <a:r>
                        <a:rPr lang="da-DK" dirty="0"/>
                        <a:t> of </a:t>
                      </a:r>
                      <a:r>
                        <a:rPr lang="da-DK" dirty="0" err="1"/>
                        <a:t>read-only</a:t>
                      </a:r>
                      <a:r>
                        <a:rPr lang="da-DK" dirty="0"/>
                        <a:t> variab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2000" dirty="0" err="1">
                          <a:latin typeface="Aptos Mono" panose="020B0009020202020204" pitchFamily="49" charset="0"/>
                        </a:rPr>
                        <a:t>const</a:t>
                      </a:r>
                      <a:r>
                        <a:rPr lang="da-DK" sz="2000" dirty="0">
                          <a:latin typeface="Aptos Mono" panose="020B0009020202020204" pitchFamily="49" charset="0"/>
                        </a:rPr>
                        <a:t> </a:t>
                      </a:r>
                      <a:r>
                        <a:rPr lang="da-DK" sz="2000" dirty="0" err="1">
                          <a:latin typeface="Aptos Mono" panose="020B0009020202020204" pitchFamily="49" charset="0"/>
                        </a:rPr>
                        <a:t>int</a:t>
                      </a:r>
                      <a:r>
                        <a:rPr lang="da-DK" sz="2000" dirty="0">
                          <a:latin typeface="Aptos Mono" panose="020B0009020202020204" pitchFamily="49" charset="0"/>
                        </a:rPr>
                        <a:t> x = 10;</a:t>
                      </a:r>
                    </a:p>
                    <a:p>
                      <a:r>
                        <a:rPr lang="da-DK" sz="2000" dirty="0">
                          <a:latin typeface="Aptos Mono" panose="020B0009020202020204" pitchFamily="49" charset="0"/>
                        </a:rPr>
                        <a:t>x = 5;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5063536"/>
                  </a:ext>
                </a:extLst>
              </a:tr>
              <a:tr h="605312">
                <a:tc>
                  <a:txBody>
                    <a:bodyPr/>
                    <a:lstStyle/>
                    <a:p>
                      <a:r>
                        <a:rPr lang="en-US" dirty="0"/>
                        <a:t>'x' was not declared in this scope</a:t>
                      </a:r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dirty="0" err="1">
                          <a:latin typeface="Aptos Mono" panose="020B0009020202020204" pitchFamily="49" charset="0"/>
                        </a:rPr>
                        <a:t>cout</a:t>
                      </a:r>
                      <a:r>
                        <a:rPr lang="da-DK" dirty="0">
                          <a:latin typeface="Aptos Mono" panose="020B0009020202020204" pitchFamily="49" charset="0"/>
                        </a:rPr>
                        <a:t> &lt;&lt; x;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annot bind non-const </a:t>
                      </a:r>
                      <a:r>
                        <a:rPr lang="en-US" dirty="0" err="1"/>
                        <a:t>lvalue</a:t>
                      </a:r>
                      <a:r>
                        <a:rPr lang="en-US" dirty="0"/>
                        <a:t> reference to an </a:t>
                      </a:r>
                      <a:r>
                        <a:rPr lang="en-US" dirty="0" err="1"/>
                        <a:t>rvalue</a:t>
                      </a:r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ptos Mono" panose="020B0009020202020204" pitchFamily="49" charset="0"/>
                        </a:rPr>
                        <a:t>void foo(int&amp; x) {}</a:t>
                      </a:r>
                    </a:p>
                    <a:p>
                      <a:r>
                        <a:rPr lang="en-US" sz="2000" dirty="0">
                          <a:latin typeface="Aptos Mono" panose="020B0009020202020204" pitchFamily="49" charset="0"/>
                        </a:rPr>
                        <a:t>foo(5);</a:t>
                      </a:r>
                      <a:endParaRPr lang="da-DK" sz="2000" dirty="0">
                        <a:latin typeface="Aptos Mono" panose="020B0009020202020204" pitchFamily="49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0714181"/>
                  </a:ext>
                </a:extLst>
              </a:tr>
              <a:tr h="606582">
                <a:tc>
                  <a:txBody>
                    <a:bodyPr/>
                    <a:lstStyle/>
                    <a:p>
                      <a:r>
                        <a:rPr lang="en-US" dirty="0"/>
                        <a:t>no matching function for call to ‘foo(int, int)'</a:t>
                      </a:r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ptos Mono" panose="020B0009020202020204" pitchFamily="49" charset="0"/>
                        </a:rPr>
                        <a:t>void foo(int a) {}</a:t>
                      </a:r>
                    </a:p>
                    <a:p>
                      <a:r>
                        <a:rPr lang="en-US" dirty="0">
                          <a:latin typeface="Aptos Mono" panose="020B0009020202020204" pitchFamily="49" charset="0"/>
                        </a:rPr>
                        <a:t>foo(3, 4); </a:t>
                      </a:r>
                      <a:br>
                        <a:rPr lang="en-US" dirty="0">
                          <a:latin typeface="Aptos Mono" panose="020B0009020202020204" pitchFamily="49" charset="0"/>
                        </a:rPr>
                      </a:br>
                      <a:endParaRPr lang="en-US" dirty="0">
                        <a:latin typeface="Aptos Mono" panose="020B0009020202020204" pitchFamily="49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valid operands of types 'int' and 'std::string' to binary 'operator+'</a:t>
                      </a:r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2000" dirty="0" err="1">
                          <a:latin typeface="Aptos Mono" panose="020B0009020202020204" pitchFamily="49" charset="0"/>
                        </a:rPr>
                        <a:t>int</a:t>
                      </a:r>
                      <a:r>
                        <a:rPr lang="da-DK" sz="2000" dirty="0">
                          <a:latin typeface="Aptos Mono" panose="020B0009020202020204" pitchFamily="49" charset="0"/>
                        </a:rPr>
                        <a:t> x = 5;</a:t>
                      </a:r>
                    </a:p>
                    <a:p>
                      <a:r>
                        <a:rPr lang="da-DK" sz="2000" dirty="0" err="1">
                          <a:latin typeface="Aptos Mono" panose="020B0009020202020204" pitchFamily="49" charset="0"/>
                        </a:rPr>
                        <a:t>std::string</a:t>
                      </a:r>
                      <a:r>
                        <a:rPr lang="da-DK" sz="2000" dirty="0">
                          <a:latin typeface="Aptos Mono" panose="020B0009020202020204" pitchFamily="49" charset="0"/>
                        </a:rPr>
                        <a:t> s = "</a:t>
                      </a:r>
                      <a:r>
                        <a:rPr lang="da-DK" sz="2000" dirty="0" err="1">
                          <a:latin typeface="Aptos Mono" panose="020B0009020202020204" pitchFamily="49" charset="0"/>
                        </a:rPr>
                        <a:t>hello</a:t>
                      </a:r>
                      <a:r>
                        <a:rPr lang="da-DK" sz="2000" dirty="0">
                          <a:latin typeface="Aptos Mono" panose="020B0009020202020204" pitchFamily="49" charset="0"/>
                        </a:rPr>
                        <a:t>";</a:t>
                      </a:r>
                    </a:p>
                    <a:p>
                      <a:r>
                        <a:rPr lang="da-DK" sz="2000" dirty="0">
                          <a:latin typeface="Aptos Mono" panose="020B0009020202020204" pitchFamily="49" charset="0"/>
                        </a:rPr>
                        <a:t>x + s;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00425754"/>
                  </a:ext>
                </a:extLst>
              </a:tr>
              <a:tr h="606582">
                <a:tc>
                  <a:txBody>
                    <a:bodyPr/>
                    <a:lstStyle/>
                    <a:p>
                      <a:r>
                        <a:rPr lang="da-DK" dirty="0" err="1"/>
                        <a:t>error</a:t>
                      </a:r>
                      <a:r>
                        <a:rPr lang="da-DK" dirty="0"/>
                        <a:t>: </a:t>
                      </a:r>
                      <a:r>
                        <a:rPr lang="da-DK" dirty="0" err="1"/>
                        <a:t>cannot</a:t>
                      </a:r>
                      <a:r>
                        <a:rPr lang="da-DK" dirty="0"/>
                        <a:t> </a:t>
                      </a:r>
                      <a:r>
                        <a:rPr lang="da-DK" dirty="0" err="1"/>
                        <a:t>convert</a:t>
                      </a:r>
                      <a:r>
                        <a:rPr lang="da-DK" dirty="0"/>
                        <a:t> 'Horse' to '</a:t>
                      </a:r>
                      <a:r>
                        <a:rPr lang="da-DK" dirty="0" err="1"/>
                        <a:t>int</a:t>
                      </a:r>
                      <a:r>
                        <a:rPr lang="da-DK" dirty="0"/>
                        <a:t>'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dirty="0">
                          <a:latin typeface="Aptos Mono" panose="020B0009020202020204" pitchFamily="49" charset="0"/>
                        </a:rPr>
                        <a:t>Horse h;</a:t>
                      </a:r>
                    </a:p>
                    <a:p>
                      <a:r>
                        <a:rPr lang="pt-BR" dirty="0">
                          <a:latin typeface="Aptos Mono" panose="020B0009020202020204" pitchFamily="49" charset="0"/>
                        </a:rPr>
                        <a:t>foo(h);</a:t>
                      </a:r>
                      <a:endParaRPr lang="en-US" dirty="0">
                        <a:latin typeface="Aptos Mono" panose="020B0009020202020204" pitchFamily="49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2000" dirty="0">
                        <a:latin typeface="Aptos Mono" panose="020B0009020202020204" pitchFamily="49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7893300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8438062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78C873-988B-28A5-E7E4-2529D104E2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7510E397-F2ED-1B5E-4920-5CDA66E58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 – What’s what?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E48E2B-4805-CA85-7C22-FF7E5979EB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4FA3EA-CF02-BD66-B456-E59907D295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A33987-A268-B1F5-8E55-B948DBA73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3C64ACC3-577A-36A5-CA63-17BB00495B78}"/>
              </a:ext>
            </a:extLst>
          </p:cNvPr>
          <p:cNvSpPr>
            <a:spLocks noGrp="1" noChangeArrowheads="1"/>
          </p:cNvSpPr>
          <p:nvPr>
            <p:ph type="subTitle" idx="18"/>
          </p:nvPr>
        </p:nvSpPr>
        <p:spPr bwMode="auto">
          <a:xfrm>
            <a:off x="358801" y="1684483"/>
            <a:ext cx="6913442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includ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&lt;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iostream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&g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defin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PR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x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printf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X ”\n”)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f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tru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)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PR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Hell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)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els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PR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World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)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341C9-066A-9BAE-A879-333DA26037CD}"/>
              </a:ext>
            </a:extLst>
          </p:cNvPr>
          <p:cNvSpPr txBox="1"/>
          <p:nvPr/>
        </p:nvSpPr>
        <p:spPr>
          <a:xfrm>
            <a:off x="5366340" y="3819770"/>
            <a:ext cx="6097022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000" dirty="0">
                <a:latin typeface="Aptos Mono" panose="020B0009020202020204" pitchFamily="49" charset="0"/>
              </a:rPr>
              <a:t>main.cpp:8: </a:t>
            </a:r>
            <a:r>
              <a:rPr lang="da-DK" sz="2000" dirty="0" err="1">
                <a:latin typeface="Aptos Mono" panose="020B0009020202020204" pitchFamily="49" charset="0"/>
              </a:rPr>
              <a:t>error</a:t>
            </a:r>
            <a:r>
              <a:rPr lang="da-DK" sz="2000" dirty="0">
                <a:latin typeface="Aptos Mono" panose="020B0009020202020204" pitchFamily="49" charset="0"/>
              </a:rPr>
              <a:t>: '</a:t>
            </a:r>
            <a:r>
              <a:rPr lang="da-DK" sz="2000" dirty="0" err="1">
                <a:latin typeface="Aptos Mono" panose="020B0009020202020204" pitchFamily="49" charset="0"/>
              </a:rPr>
              <a:t>else</a:t>
            </a:r>
            <a:r>
              <a:rPr lang="da-DK" sz="2000" dirty="0">
                <a:latin typeface="Aptos Mono" panose="020B0009020202020204" pitchFamily="49" charset="0"/>
              </a:rPr>
              <a:t>' </a:t>
            </a:r>
            <a:r>
              <a:rPr lang="da-DK" sz="2000" dirty="0" err="1">
                <a:latin typeface="Aptos Mono" panose="020B0009020202020204" pitchFamily="49" charset="0"/>
              </a:rPr>
              <a:t>without</a:t>
            </a:r>
            <a:r>
              <a:rPr lang="da-DK" sz="2000" dirty="0">
                <a:latin typeface="Aptos Mono" panose="020B0009020202020204" pitchFamily="49" charset="0"/>
              </a:rPr>
              <a:t> a </a:t>
            </a:r>
            <a:r>
              <a:rPr lang="da-DK" sz="2000" dirty="0" err="1">
                <a:latin typeface="Aptos Mono" panose="020B0009020202020204" pitchFamily="49" charset="0"/>
              </a:rPr>
              <a:t>previous</a:t>
            </a:r>
            <a:r>
              <a:rPr lang="da-DK" sz="2000" dirty="0">
                <a:latin typeface="Aptos Mono" panose="020B0009020202020204" pitchFamily="49" charset="0"/>
              </a:rPr>
              <a:t> '</a:t>
            </a:r>
            <a:r>
              <a:rPr lang="da-DK" sz="2000" dirty="0" err="1">
                <a:latin typeface="Aptos Mono" panose="020B0009020202020204" pitchFamily="49" charset="0"/>
              </a:rPr>
              <a:t>if</a:t>
            </a:r>
            <a:r>
              <a:rPr lang="da-DK" sz="2000" dirty="0">
                <a:latin typeface="Aptos Mono" panose="020B0009020202020204" pitchFamily="49" charset="0"/>
              </a:rPr>
              <a:t>'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main.cpp: In </a:t>
            </a:r>
            <a:r>
              <a:rPr lang="da-DK" sz="2000" dirty="0" err="1">
                <a:latin typeface="Aptos Mono" panose="020B0009020202020204" pitchFamily="49" charset="0"/>
              </a:rPr>
              <a:t>function</a:t>
            </a:r>
            <a:r>
              <a:rPr lang="da-DK" sz="2000" dirty="0">
                <a:latin typeface="Aptos Mono" panose="020B0009020202020204" pitchFamily="49" charset="0"/>
              </a:rPr>
              <a:t> '</a:t>
            </a:r>
            <a:r>
              <a:rPr lang="da-DK" sz="2000" dirty="0" err="1">
                <a:latin typeface="Aptos Mono" panose="020B0009020202020204" pitchFamily="49" charset="0"/>
              </a:rPr>
              <a:t>int</a:t>
            </a:r>
            <a:r>
              <a:rPr lang="da-DK" sz="2000" dirty="0">
                <a:latin typeface="Aptos Mono" panose="020B0009020202020204" pitchFamily="49" charset="0"/>
              </a:rPr>
              <a:t> </a:t>
            </a:r>
            <a:r>
              <a:rPr lang="da-DK" sz="2000" dirty="0" err="1">
                <a:latin typeface="Aptos Mono" panose="020B0009020202020204" pitchFamily="49" charset="0"/>
              </a:rPr>
              <a:t>main</a:t>
            </a:r>
            <a:r>
              <a:rPr lang="da-DK" sz="2000" dirty="0">
                <a:latin typeface="Aptos Mono" panose="020B0009020202020204" pitchFamily="49" charset="0"/>
              </a:rPr>
              <a:t>()':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main.cpp:8:5: </a:t>
            </a:r>
            <a:r>
              <a:rPr lang="da-DK" sz="2000" dirty="0" err="1">
                <a:latin typeface="Aptos Mono" panose="020B0009020202020204" pitchFamily="49" charset="0"/>
              </a:rPr>
              <a:t>error</a:t>
            </a:r>
            <a:r>
              <a:rPr lang="da-DK" sz="2000" dirty="0">
                <a:latin typeface="Aptos Mono" panose="020B0009020202020204" pitchFamily="49" charset="0"/>
              </a:rPr>
              <a:t>: '</a:t>
            </a:r>
            <a:r>
              <a:rPr lang="da-DK" sz="2000" dirty="0" err="1">
                <a:latin typeface="Aptos Mono" panose="020B0009020202020204" pitchFamily="49" charset="0"/>
              </a:rPr>
              <a:t>else</a:t>
            </a:r>
            <a:r>
              <a:rPr lang="da-DK" sz="2000" dirty="0">
                <a:latin typeface="Aptos Mono" panose="020B0009020202020204" pitchFamily="49" charset="0"/>
              </a:rPr>
              <a:t>' </a:t>
            </a:r>
            <a:r>
              <a:rPr lang="da-DK" sz="2000" dirty="0" err="1">
                <a:latin typeface="Aptos Mono" panose="020B0009020202020204" pitchFamily="49" charset="0"/>
              </a:rPr>
              <a:t>without</a:t>
            </a:r>
            <a:r>
              <a:rPr lang="da-DK" sz="2000" dirty="0">
                <a:latin typeface="Aptos Mono" panose="020B0009020202020204" pitchFamily="49" charset="0"/>
              </a:rPr>
              <a:t> a </a:t>
            </a:r>
            <a:r>
              <a:rPr lang="da-DK" sz="2000" dirty="0" err="1">
                <a:latin typeface="Aptos Mono" panose="020B0009020202020204" pitchFamily="49" charset="0"/>
              </a:rPr>
              <a:t>previous</a:t>
            </a:r>
            <a:r>
              <a:rPr lang="da-DK" sz="2000" dirty="0">
                <a:latin typeface="Aptos Mono" panose="020B0009020202020204" pitchFamily="49" charset="0"/>
              </a:rPr>
              <a:t> '</a:t>
            </a:r>
            <a:r>
              <a:rPr lang="da-DK" sz="2000" dirty="0" err="1">
                <a:latin typeface="Aptos Mono" panose="020B0009020202020204" pitchFamily="49" charset="0"/>
              </a:rPr>
              <a:t>if</a:t>
            </a:r>
            <a:r>
              <a:rPr lang="da-DK" sz="2000" dirty="0">
                <a:latin typeface="Aptos Mono" panose="020B0009020202020204" pitchFamily="49" charset="0"/>
              </a:rPr>
              <a:t>'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8 |     </a:t>
            </a:r>
            <a:r>
              <a:rPr lang="da-DK" sz="2000" dirty="0" err="1">
                <a:latin typeface="Aptos Mono" panose="020B0009020202020204" pitchFamily="49" charset="0"/>
              </a:rPr>
              <a:t>else</a:t>
            </a:r>
            <a:endParaRPr lang="da-DK" sz="2000" dirty="0">
              <a:latin typeface="Aptos Mono" panose="020B0009020202020204" pitchFamily="49" charset="0"/>
            </a:endParaRPr>
          </a:p>
          <a:p>
            <a:r>
              <a:rPr lang="da-DK" sz="2000" dirty="0">
                <a:latin typeface="Aptos Mono" panose="020B0009020202020204" pitchFamily="49" charset="0"/>
              </a:rPr>
              <a:t>      |     ^~~~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1962878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446C54-DD72-C512-0A7F-297B1A9291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780ACBC-9DEB-F49D-1347-41FA704E7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 – What’s what?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50DABD-7829-FBF6-2AB9-664C6A7D1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2A908F-1166-1A2B-0072-CD28E6CAD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06B08-E77E-79F5-9E9D-AB4D265D7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2AE8A7A-7926-31BD-3056-AE760A20D17C}"/>
              </a:ext>
            </a:extLst>
          </p:cNvPr>
          <p:cNvSpPr>
            <a:spLocks noGrp="1" noChangeArrowheads="1"/>
          </p:cNvSpPr>
          <p:nvPr>
            <p:ph type="subTitle" idx="18"/>
          </p:nvPr>
        </p:nvSpPr>
        <p:spPr bwMode="auto">
          <a:xfrm>
            <a:off x="486629" y="1727462"/>
            <a:ext cx="6913442" cy="3385542"/>
          </a:xfrm>
          <a:custGeom>
            <a:avLst/>
            <a:gdLst>
              <a:gd name="connsiteX0" fmla="*/ 0 w 6913442"/>
              <a:gd name="connsiteY0" fmla="*/ 0 h 3385542"/>
              <a:gd name="connsiteX1" fmla="*/ 691344 w 6913442"/>
              <a:gd name="connsiteY1" fmla="*/ 0 h 3385542"/>
              <a:gd name="connsiteX2" fmla="*/ 1451823 w 6913442"/>
              <a:gd name="connsiteY2" fmla="*/ 0 h 3385542"/>
              <a:gd name="connsiteX3" fmla="*/ 1935764 w 6913442"/>
              <a:gd name="connsiteY3" fmla="*/ 0 h 3385542"/>
              <a:gd name="connsiteX4" fmla="*/ 2696242 w 6913442"/>
              <a:gd name="connsiteY4" fmla="*/ 0 h 3385542"/>
              <a:gd name="connsiteX5" fmla="*/ 3318452 w 6913442"/>
              <a:gd name="connsiteY5" fmla="*/ 0 h 3385542"/>
              <a:gd name="connsiteX6" fmla="*/ 4078931 w 6913442"/>
              <a:gd name="connsiteY6" fmla="*/ 0 h 3385542"/>
              <a:gd name="connsiteX7" fmla="*/ 4632006 w 6913442"/>
              <a:gd name="connsiteY7" fmla="*/ 0 h 3385542"/>
              <a:gd name="connsiteX8" fmla="*/ 5185082 w 6913442"/>
              <a:gd name="connsiteY8" fmla="*/ 0 h 3385542"/>
              <a:gd name="connsiteX9" fmla="*/ 6014695 w 6913442"/>
              <a:gd name="connsiteY9" fmla="*/ 0 h 3385542"/>
              <a:gd name="connsiteX10" fmla="*/ 6913442 w 6913442"/>
              <a:gd name="connsiteY10" fmla="*/ 0 h 3385542"/>
              <a:gd name="connsiteX11" fmla="*/ 6913442 w 6913442"/>
              <a:gd name="connsiteY11" fmla="*/ 575542 h 3385542"/>
              <a:gd name="connsiteX12" fmla="*/ 6913442 w 6913442"/>
              <a:gd name="connsiteY12" fmla="*/ 1320361 h 3385542"/>
              <a:gd name="connsiteX13" fmla="*/ 6913442 w 6913442"/>
              <a:gd name="connsiteY13" fmla="*/ 1929759 h 3385542"/>
              <a:gd name="connsiteX14" fmla="*/ 6913442 w 6913442"/>
              <a:gd name="connsiteY14" fmla="*/ 2640723 h 3385542"/>
              <a:gd name="connsiteX15" fmla="*/ 6913442 w 6913442"/>
              <a:gd name="connsiteY15" fmla="*/ 3385542 h 3385542"/>
              <a:gd name="connsiteX16" fmla="*/ 6152963 w 6913442"/>
              <a:gd name="connsiteY16" fmla="*/ 3385542 h 3385542"/>
              <a:gd name="connsiteX17" fmla="*/ 5530754 w 6913442"/>
              <a:gd name="connsiteY17" fmla="*/ 3385542 h 3385542"/>
              <a:gd name="connsiteX18" fmla="*/ 4770275 w 6913442"/>
              <a:gd name="connsiteY18" fmla="*/ 3385542 h 3385542"/>
              <a:gd name="connsiteX19" fmla="*/ 4009796 w 6913442"/>
              <a:gd name="connsiteY19" fmla="*/ 3385542 h 3385542"/>
              <a:gd name="connsiteX20" fmla="*/ 3387587 w 6913442"/>
              <a:gd name="connsiteY20" fmla="*/ 3385542 h 3385542"/>
              <a:gd name="connsiteX21" fmla="*/ 2557974 w 6913442"/>
              <a:gd name="connsiteY21" fmla="*/ 3385542 h 3385542"/>
              <a:gd name="connsiteX22" fmla="*/ 1935764 w 6913442"/>
              <a:gd name="connsiteY22" fmla="*/ 3385542 h 3385542"/>
              <a:gd name="connsiteX23" fmla="*/ 1451823 w 6913442"/>
              <a:gd name="connsiteY23" fmla="*/ 3385542 h 3385542"/>
              <a:gd name="connsiteX24" fmla="*/ 691344 w 6913442"/>
              <a:gd name="connsiteY24" fmla="*/ 3385542 h 3385542"/>
              <a:gd name="connsiteX25" fmla="*/ 0 w 6913442"/>
              <a:gd name="connsiteY25" fmla="*/ 3385542 h 3385542"/>
              <a:gd name="connsiteX26" fmla="*/ 0 w 6913442"/>
              <a:gd name="connsiteY26" fmla="*/ 2810000 h 3385542"/>
              <a:gd name="connsiteX27" fmla="*/ 0 w 6913442"/>
              <a:gd name="connsiteY27" fmla="*/ 2132891 h 3385542"/>
              <a:gd name="connsiteX28" fmla="*/ 0 w 6913442"/>
              <a:gd name="connsiteY28" fmla="*/ 1455783 h 3385542"/>
              <a:gd name="connsiteX29" fmla="*/ 0 w 6913442"/>
              <a:gd name="connsiteY29" fmla="*/ 744819 h 3385542"/>
              <a:gd name="connsiteX30" fmla="*/ 0 w 6913442"/>
              <a:gd name="connsiteY30" fmla="*/ 0 h 3385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6913442" h="3385542" fill="none" extrusionOk="0">
                <a:moveTo>
                  <a:pt x="0" y="0"/>
                </a:moveTo>
                <a:cubicBezTo>
                  <a:pt x="145331" y="-8866"/>
                  <a:pt x="375643" y="30019"/>
                  <a:pt x="691344" y="0"/>
                </a:cubicBezTo>
                <a:cubicBezTo>
                  <a:pt x="1007045" y="-30019"/>
                  <a:pt x="1139183" y="37920"/>
                  <a:pt x="1451823" y="0"/>
                </a:cubicBezTo>
                <a:cubicBezTo>
                  <a:pt x="1764463" y="-37920"/>
                  <a:pt x="1742243" y="1754"/>
                  <a:pt x="1935764" y="0"/>
                </a:cubicBezTo>
                <a:cubicBezTo>
                  <a:pt x="2129285" y="-1754"/>
                  <a:pt x="2483345" y="1296"/>
                  <a:pt x="2696242" y="0"/>
                </a:cubicBezTo>
                <a:cubicBezTo>
                  <a:pt x="2909139" y="-1296"/>
                  <a:pt x="3140915" y="7577"/>
                  <a:pt x="3318452" y="0"/>
                </a:cubicBezTo>
                <a:cubicBezTo>
                  <a:pt x="3495989" y="-7577"/>
                  <a:pt x="3731196" y="19104"/>
                  <a:pt x="4078931" y="0"/>
                </a:cubicBezTo>
                <a:cubicBezTo>
                  <a:pt x="4426666" y="-19104"/>
                  <a:pt x="4369284" y="5551"/>
                  <a:pt x="4632006" y="0"/>
                </a:cubicBezTo>
                <a:cubicBezTo>
                  <a:pt x="4894728" y="-5551"/>
                  <a:pt x="5046610" y="-4883"/>
                  <a:pt x="5185082" y="0"/>
                </a:cubicBezTo>
                <a:cubicBezTo>
                  <a:pt x="5323554" y="4883"/>
                  <a:pt x="5841572" y="-3276"/>
                  <a:pt x="6014695" y="0"/>
                </a:cubicBezTo>
                <a:cubicBezTo>
                  <a:pt x="6187818" y="3276"/>
                  <a:pt x="6616958" y="-36748"/>
                  <a:pt x="6913442" y="0"/>
                </a:cubicBezTo>
                <a:cubicBezTo>
                  <a:pt x="6888839" y="229648"/>
                  <a:pt x="6904513" y="435346"/>
                  <a:pt x="6913442" y="575542"/>
                </a:cubicBezTo>
                <a:cubicBezTo>
                  <a:pt x="6922371" y="715738"/>
                  <a:pt x="6905350" y="1110693"/>
                  <a:pt x="6913442" y="1320361"/>
                </a:cubicBezTo>
                <a:cubicBezTo>
                  <a:pt x="6921534" y="1530029"/>
                  <a:pt x="6911717" y="1643596"/>
                  <a:pt x="6913442" y="1929759"/>
                </a:cubicBezTo>
                <a:cubicBezTo>
                  <a:pt x="6915167" y="2215922"/>
                  <a:pt x="6901424" y="2329000"/>
                  <a:pt x="6913442" y="2640723"/>
                </a:cubicBezTo>
                <a:cubicBezTo>
                  <a:pt x="6925460" y="2952446"/>
                  <a:pt x="6942691" y="3180086"/>
                  <a:pt x="6913442" y="3385542"/>
                </a:cubicBezTo>
                <a:cubicBezTo>
                  <a:pt x="6620598" y="3348117"/>
                  <a:pt x="6329768" y="3394866"/>
                  <a:pt x="6152963" y="3385542"/>
                </a:cubicBezTo>
                <a:cubicBezTo>
                  <a:pt x="5976158" y="3376218"/>
                  <a:pt x="5680895" y="3363211"/>
                  <a:pt x="5530754" y="3385542"/>
                </a:cubicBezTo>
                <a:cubicBezTo>
                  <a:pt x="5380613" y="3407873"/>
                  <a:pt x="5084298" y="3394569"/>
                  <a:pt x="4770275" y="3385542"/>
                </a:cubicBezTo>
                <a:cubicBezTo>
                  <a:pt x="4456252" y="3376515"/>
                  <a:pt x="4206614" y="3388623"/>
                  <a:pt x="4009796" y="3385542"/>
                </a:cubicBezTo>
                <a:cubicBezTo>
                  <a:pt x="3812978" y="3382461"/>
                  <a:pt x="3694596" y="3386950"/>
                  <a:pt x="3387587" y="3385542"/>
                </a:cubicBezTo>
                <a:cubicBezTo>
                  <a:pt x="3080578" y="3384134"/>
                  <a:pt x="2930201" y="3405705"/>
                  <a:pt x="2557974" y="3385542"/>
                </a:cubicBezTo>
                <a:cubicBezTo>
                  <a:pt x="2185747" y="3365379"/>
                  <a:pt x="2229350" y="3402537"/>
                  <a:pt x="1935764" y="3385542"/>
                </a:cubicBezTo>
                <a:cubicBezTo>
                  <a:pt x="1642178" y="3368548"/>
                  <a:pt x="1665928" y="3376651"/>
                  <a:pt x="1451823" y="3385542"/>
                </a:cubicBezTo>
                <a:cubicBezTo>
                  <a:pt x="1237718" y="3394433"/>
                  <a:pt x="868691" y="3408026"/>
                  <a:pt x="691344" y="3385542"/>
                </a:cubicBezTo>
                <a:cubicBezTo>
                  <a:pt x="513997" y="3363058"/>
                  <a:pt x="290335" y="3371761"/>
                  <a:pt x="0" y="3385542"/>
                </a:cubicBezTo>
                <a:cubicBezTo>
                  <a:pt x="-7908" y="3171555"/>
                  <a:pt x="-4126" y="2978536"/>
                  <a:pt x="0" y="2810000"/>
                </a:cubicBezTo>
                <a:cubicBezTo>
                  <a:pt x="4126" y="2641464"/>
                  <a:pt x="-5629" y="2331976"/>
                  <a:pt x="0" y="2132891"/>
                </a:cubicBezTo>
                <a:cubicBezTo>
                  <a:pt x="5629" y="1933806"/>
                  <a:pt x="-31256" y="1631453"/>
                  <a:pt x="0" y="1455783"/>
                </a:cubicBezTo>
                <a:cubicBezTo>
                  <a:pt x="31256" y="1280113"/>
                  <a:pt x="2039" y="1070964"/>
                  <a:pt x="0" y="744819"/>
                </a:cubicBezTo>
                <a:cubicBezTo>
                  <a:pt x="-2039" y="418674"/>
                  <a:pt x="8536" y="179814"/>
                  <a:pt x="0" y="0"/>
                </a:cubicBezTo>
                <a:close/>
              </a:path>
              <a:path w="6913442" h="3385542" stroke="0" extrusionOk="0">
                <a:moveTo>
                  <a:pt x="0" y="0"/>
                </a:moveTo>
                <a:cubicBezTo>
                  <a:pt x="217106" y="30280"/>
                  <a:pt x="454749" y="17465"/>
                  <a:pt x="622210" y="0"/>
                </a:cubicBezTo>
                <a:cubicBezTo>
                  <a:pt x="789671" y="-17465"/>
                  <a:pt x="1119111" y="12356"/>
                  <a:pt x="1382688" y="0"/>
                </a:cubicBezTo>
                <a:cubicBezTo>
                  <a:pt x="1646265" y="-12356"/>
                  <a:pt x="1831470" y="-25421"/>
                  <a:pt x="2143167" y="0"/>
                </a:cubicBezTo>
                <a:cubicBezTo>
                  <a:pt x="2454864" y="25421"/>
                  <a:pt x="2526923" y="6813"/>
                  <a:pt x="2834511" y="0"/>
                </a:cubicBezTo>
                <a:cubicBezTo>
                  <a:pt x="3142099" y="-6813"/>
                  <a:pt x="3256737" y="-18601"/>
                  <a:pt x="3456721" y="0"/>
                </a:cubicBezTo>
                <a:cubicBezTo>
                  <a:pt x="3656705" y="18601"/>
                  <a:pt x="3895231" y="28385"/>
                  <a:pt x="4148065" y="0"/>
                </a:cubicBezTo>
                <a:cubicBezTo>
                  <a:pt x="4400899" y="-28385"/>
                  <a:pt x="4533814" y="32718"/>
                  <a:pt x="4839409" y="0"/>
                </a:cubicBezTo>
                <a:cubicBezTo>
                  <a:pt x="5145004" y="-32718"/>
                  <a:pt x="5265862" y="-40962"/>
                  <a:pt x="5669022" y="0"/>
                </a:cubicBezTo>
                <a:cubicBezTo>
                  <a:pt x="6072182" y="40962"/>
                  <a:pt x="6056235" y="16384"/>
                  <a:pt x="6291232" y="0"/>
                </a:cubicBezTo>
                <a:cubicBezTo>
                  <a:pt x="6526229" y="-16384"/>
                  <a:pt x="6708873" y="21392"/>
                  <a:pt x="6913442" y="0"/>
                </a:cubicBezTo>
                <a:cubicBezTo>
                  <a:pt x="6902293" y="192681"/>
                  <a:pt x="6930396" y="549646"/>
                  <a:pt x="6913442" y="710964"/>
                </a:cubicBezTo>
                <a:cubicBezTo>
                  <a:pt x="6896488" y="872282"/>
                  <a:pt x="6931826" y="1198794"/>
                  <a:pt x="6913442" y="1421928"/>
                </a:cubicBezTo>
                <a:cubicBezTo>
                  <a:pt x="6895058" y="1645062"/>
                  <a:pt x="6935462" y="1832315"/>
                  <a:pt x="6913442" y="2099036"/>
                </a:cubicBezTo>
                <a:cubicBezTo>
                  <a:pt x="6891422" y="2365757"/>
                  <a:pt x="6941338" y="3104467"/>
                  <a:pt x="6913442" y="3385542"/>
                </a:cubicBezTo>
                <a:cubicBezTo>
                  <a:pt x="6657527" y="3416479"/>
                  <a:pt x="6488463" y="3364562"/>
                  <a:pt x="6222098" y="3385542"/>
                </a:cubicBezTo>
                <a:cubicBezTo>
                  <a:pt x="5955733" y="3406522"/>
                  <a:pt x="5607782" y="3369338"/>
                  <a:pt x="5392485" y="3385542"/>
                </a:cubicBezTo>
                <a:cubicBezTo>
                  <a:pt x="5177188" y="3401746"/>
                  <a:pt x="5070869" y="3376551"/>
                  <a:pt x="4908544" y="3385542"/>
                </a:cubicBezTo>
                <a:cubicBezTo>
                  <a:pt x="4746219" y="3394533"/>
                  <a:pt x="4599864" y="3381348"/>
                  <a:pt x="4424603" y="3385542"/>
                </a:cubicBezTo>
                <a:cubicBezTo>
                  <a:pt x="4249342" y="3389736"/>
                  <a:pt x="3950663" y="3386748"/>
                  <a:pt x="3733259" y="3385542"/>
                </a:cubicBezTo>
                <a:cubicBezTo>
                  <a:pt x="3515855" y="3384336"/>
                  <a:pt x="3229142" y="3381574"/>
                  <a:pt x="2972780" y="3385542"/>
                </a:cubicBezTo>
                <a:cubicBezTo>
                  <a:pt x="2716418" y="3389510"/>
                  <a:pt x="2669886" y="3362464"/>
                  <a:pt x="2488839" y="3385542"/>
                </a:cubicBezTo>
                <a:cubicBezTo>
                  <a:pt x="2307792" y="3408620"/>
                  <a:pt x="2168198" y="3395066"/>
                  <a:pt x="1935764" y="3385542"/>
                </a:cubicBezTo>
                <a:cubicBezTo>
                  <a:pt x="1703330" y="3376018"/>
                  <a:pt x="1677592" y="3399514"/>
                  <a:pt x="1451823" y="3385542"/>
                </a:cubicBezTo>
                <a:cubicBezTo>
                  <a:pt x="1226054" y="3371570"/>
                  <a:pt x="1084268" y="3372445"/>
                  <a:pt x="829613" y="3385542"/>
                </a:cubicBezTo>
                <a:cubicBezTo>
                  <a:pt x="574958" y="3398640"/>
                  <a:pt x="224274" y="3344399"/>
                  <a:pt x="0" y="3385542"/>
                </a:cubicBezTo>
                <a:cubicBezTo>
                  <a:pt x="-15787" y="3185746"/>
                  <a:pt x="12084" y="2976848"/>
                  <a:pt x="0" y="2640723"/>
                </a:cubicBezTo>
                <a:cubicBezTo>
                  <a:pt x="-12084" y="2304598"/>
                  <a:pt x="26452" y="2230669"/>
                  <a:pt x="0" y="1895904"/>
                </a:cubicBezTo>
                <a:cubicBezTo>
                  <a:pt x="-26452" y="1561139"/>
                  <a:pt x="-16461" y="1521517"/>
                  <a:pt x="0" y="1218795"/>
                </a:cubicBezTo>
                <a:cubicBezTo>
                  <a:pt x="16461" y="916073"/>
                  <a:pt x="14095" y="449147"/>
                  <a:pt x="0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4133275440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includ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&lt;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iostream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&g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defin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PR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x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std::cou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lt;&l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x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lt;&l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std::endl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f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tru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)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PR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Hell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)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els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PR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World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)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</a:t>
            </a: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3832DD6D-2C46-3AC6-6804-6EBE7CAC7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6620" y="4189675"/>
            <a:ext cx="6155531" cy="2154436"/>
          </a:xfrm>
          <a:custGeom>
            <a:avLst/>
            <a:gdLst>
              <a:gd name="connsiteX0" fmla="*/ 0 w 6155531"/>
              <a:gd name="connsiteY0" fmla="*/ 0 h 2154436"/>
              <a:gd name="connsiteX1" fmla="*/ 560837 w 6155531"/>
              <a:gd name="connsiteY1" fmla="*/ 0 h 2154436"/>
              <a:gd name="connsiteX2" fmla="*/ 1121675 w 6155531"/>
              <a:gd name="connsiteY2" fmla="*/ 0 h 2154436"/>
              <a:gd name="connsiteX3" fmla="*/ 1620956 w 6155531"/>
              <a:gd name="connsiteY3" fmla="*/ 0 h 2154436"/>
              <a:gd name="connsiteX4" fmla="*/ 2243349 w 6155531"/>
              <a:gd name="connsiteY4" fmla="*/ 0 h 2154436"/>
              <a:gd name="connsiteX5" fmla="*/ 2927297 w 6155531"/>
              <a:gd name="connsiteY5" fmla="*/ 0 h 2154436"/>
              <a:gd name="connsiteX6" fmla="*/ 3611245 w 6155531"/>
              <a:gd name="connsiteY6" fmla="*/ 0 h 2154436"/>
              <a:gd name="connsiteX7" fmla="*/ 4233637 w 6155531"/>
              <a:gd name="connsiteY7" fmla="*/ 0 h 2154436"/>
              <a:gd name="connsiteX8" fmla="*/ 4794475 w 6155531"/>
              <a:gd name="connsiteY8" fmla="*/ 0 h 2154436"/>
              <a:gd name="connsiteX9" fmla="*/ 5416867 w 6155531"/>
              <a:gd name="connsiteY9" fmla="*/ 0 h 2154436"/>
              <a:gd name="connsiteX10" fmla="*/ 6155531 w 6155531"/>
              <a:gd name="connsiteY10" fmla="*/ 0 h 2154436"/>
              <a:gd name="connsiteX11" fmla="*/ 6155531 w 6155531"/>
              <a:gd name="connsiteY11" fmla="*/ 560153 h 2154436"/>
              <a:gd name="connsiteX12" fmla="*/ 6155531 w 6155531"/>
              <a:gd name="connsiteY12" fmla="*/ 1098762 h 2154436"/>
              <a:gd name="connsiteX13" fmla="*/ 6155531 w 6155531"/>
              <a:gd name="connsiteY13" fmla="*/ 1637371 h 2154436"/>
              <a:gd name="connsiteX14" fmla="*/ 6155531 w 6155531"/>
              <a:gd name="connsiteY14" fmla="*/ 2154436 h 2154436"/>
              <a:gd name="connsiteX15" fmla="*/ 5348472 w 6155531"/>
              <a:gd name="connsiteY15" fmla="*/ 2154436 h 2154436"/>
              <a:gd name="connsiteX16" fmla="*/ 4664525 w 6155531"/>
              <a:gd name="connsiteY16" fmla="*/ 2154436 h 2154436"/>
              <a:gd name="connsiteX17" fmla="*/ 4103687 w 6155531"/>
              <a:gd name="connsiteY17" fmla="*/ 2154436 h 2154436"/>
              <a:gd name="connsiteX18" fmla="*/ 3604405 w 6155531"/>
              <a:gd name="connsiteY18" fmla="*/ 2154436 h 2154436"/>
              <a:gd name="connsiteX19" fmla="*/ 3043568 w 6155531"/>
              <a:gd name="connsiteY19" fmla="*/ 2154436 h 2154436"/>
              <a:gd name="connsiteX20" fmla="*/ 2359620 w 6155531"/>
              <a:gd name="connsiteY20" fmla="*/ 2154436 h 2154436"/>
              <a:gd name="connsiteX21" fmla="*/ 1737228 w 6155531"/>
              <a:gd name="connsiteY21" fmla="*/ 2154436 h 2154436"/>
              <a:gd name="connsiteX22" fmla="*/ 1176390 w 6155531"/>
              <a:gd name="connsiteY22" fmla="*/ 2154436 h 2154436"/>
              <a:gd name="connsiteX23" fmla="*/ 615553 w 6155531"/>
              <a:gd name="connsiteY23" fmla="*/ 2154436 h 2154436"/>
              <a:gd name="connsiteX24" fmla="*/ 0 w 6155531"/>
              <a:gd name="connsiteY24" fmla="*/ 2154436 h 2154436"/>
              <a:gd name="connsiteX25" fmla="*/ 0 w 6155531"/>
              <a:gd name="connsiteY25" fmla="*/ 1637371 h 2154436"/>
              <a:gd name="connsiteX26" fmla="*/ 0 w 6155531"/>
              <a:gd name="connsiteY26" fmla="*/ 1098762 h 2154436"/>
              <a:gd name="connsiteX27" fmla="*/ 0 w 6155531"/>
              <a:gd name="connsiteY27" fmla="*/ 603242 h 2154436"/>
              <a:gd name="connsiteX28" fmla="*/ 0 w 6155531"/>
              <a:gd name="connsiteY28" fmla="*/ 0 h 215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155531" h="2154436" fill="none" extrusionOk="0">
                <a:moveTo>
                  <a:pt x="0" y="0"/>
                </a:moveTo>
                <a:cubicBezTo>
                  <a:pt x="270301" y="-2348"/>
                  <a:pt x="413306" y="-20575"/>
                  <a:pt x="560837" y="0"/>
                </a:cubicBezTo>
                <a:cubicBezTo>
                  <a:pt x="708368" y="20575"/>
                  <a:pt x="848612" y="-18894"/>
                  <a:pt x="1121675" y="0"/>
                </a:cubicBezTo>
                <a:cubicBezTo>
                  <a:pt x="1394738" y="18894"/>
                  <a:pt x="1438841" y="-16689"/>
                  <a:pt x="1620956" y="0"/>
                </a:cubicBezTo>
                <a:cubicBezTo>
                  <a:pt x="1803071" y="16689"/>
                  <a:pt x="2111042" y="28756"/>
                  <a:pt x="2243349" y="0"/>
                </a:cubicBezTo>
                <a:cubicBezTo>
                  <a:pt x="2375656" y="-28756"/>
                  <a:pt x="2608194" y="-8251"/>
                  <a:pt x="2927297" y="0"/>
                </a:cubicBezTo>
                <a:cubicBezTo>
                  <a:pt x="3246400" y="8251"/>
                  <a:pt x="3427367" y="-31997"/>
                  <a:pt x="3611245" y="0"/>
                </a:cubicBezTo>
                <a:cubicBezTo>
                  <a:pt x="3795123" y="31997"/>
                  <a:pt x="4095730" y="24850"/>
                  <a:pt x="4233637" y="0"/>
                </a:cubicBezTo>
                <a:cubicBezTo>
                  <a:pt x="4371544" y="-24850"/>
                  <a:pt x="4536446" y="10702"/>
                  <a:pt x="4794475" y="0"/>
                </a:cubicBezTo>
                <a:cubicBezTo>
                  <a:pt x="5052504" y="-10702"/>
                  <a:pt x="5235349" y="-10220"/>
                  <a:pt x="5416867" y="0"/>
                </a:cubicBezTo>
                <a:cubicBezTo>
                  <a:pt x="5598385" y="10220"/>
                  <a:pt x="5928658" y="-32965"/>
                  <a:pt x="6155531" y="0"/>
                </a:cubicBezTo>
                <a:cubicBezTo>
                  <a:pt x="6138480" y="243413"/>
                  <a:pt x="6180912" y="283016"/>
                  <a:pt x="6155531" y="560153"/>
                </a:cubicBezTo>
                <a:cubicBezTo>
                  <a:pt x="6130150" y="837290"/>
                  <a:pt x="6131068" y="932480"/>
                  <a:pt x="6155531" y="1098762"/>
                </a:cubicBezTo>
                <a:cubicBezTo>
                  <a:pt x="6179994" y="1265044"/>
                  <a:pt x="6166269" y="1452245"/>
                  <a:pt x="6155531" y="1637371"/>
                </a:cubicBezTo>
                <a:cubicBezTo>
                  <a:pt x="6144793" y="1822497"/>
                  <a:pt x="6131307" y="1958034"/>
                  <a:pt x="6155531" y="2154436"/>
                </a:cubicBezTo>
                <a:cubicBezTo>
                  <a:pt x="5992389" y="2114858"/>
                  <a:pt x="5679402" y="2185112"/>
                  <a:pt x="5348472" y="2154436"/>
                </a:cubicBezTo>
                <a:cubicBezTo>
                  <a:pt x="5017542" y="2123760"/>
                  <a:pt x="4968472" y="2127600"/>
                  <a:pt x="4664525" y="2154436"/>
                </a:cubicBezTo>
                <a:cubicBezTo>
                  <a:pt x="4360578" y="2181272"/>
                  <a:pt x="4247509" y="2142830"/>
                  <a:pt x="4103687" y="2154436"/>
                </a:cubicBezTo>
                <a:cubicBezTo>
                  <a:pt x="3959865" y="2166042"/>
                  <a:pt x="3773347" y="2169699"/>
                  <a:pt x="3604405" y="2154436"/>
                </a:cubicBezTo>
                <a:cubicBezTo>
                  <a:pt x="3435463" y="2139173"/>
                  <a:pt x="3309707" y="2134997"/>
                  <a:pt x="3043568" y="2154436"/>
                </a:cubicBezTo>
                <a:cubicBezTo>
                  <a:pt x="2777429" y="2173875"/>
                  <a:pt x="2614288" y="2165365"/>
                  <a:pt x="2359620" y="2154436"/>
                </a:cubicBezTo>
                <a:cubicBezTo>
                  <a:pt x="2104952" y="2143507"/>
                  <a:pt x="1876259" y="2182112"/>
                  <a:pt x="1737228" y="2154436"/>
                </a:cubicBezTo>
                <a:cubicBezTo>
                  <a:pt x="1598197" y="2126760"/>
                  <a:pt x="1310302" y="2137605"/>
                  <a:pt x="1176390" y="2154436"/>
                </a:cubicBezTo>
                <a:cubicBezTo>
                  <a:pt x="1042478" y="2171267"/>
                  <a:pt x="841598" y="2146186"/>
                  <a:pt x="615553" y="2154436"/>
                </a:cubicBezTo>
                <a:cubicBezTo>
                  <a:pt x="389508" y="2162686"/>
                  <a:pt x="136119" y="2176797"/>
                  <a:pt x="0" y="2154436"/>
                </a:cubicBezTo>
                <a:cubicBezTo>
                  <a:pt x="-13719" y="1994343"/>
                  <a:pt x="-2194" y="1780214"/>
                  <a:pt x="0" y="1637371"/>
                </a:cubicBezTo>
                <a:cubicBezTo>
                  <a:pt x="2194" y="1494529"/>
                  <a:pt x="-8240" y="1358918"/>
                  <a:pt x="0" y="1098762"/>
                </a:cubicBezTo>
                <a:cubicBezTo>
                  <a:pt x="8240" y="838606"/>
                  <a:pt x="5930" y="819731"/>
                  <a:pt x="0" y="603242"/>
                </a:cubicBezTo>
                <a:cubicBezTo>
                  <a:pt x="-5930" y="386753"/>
                  <a:pt x="29879" y="270103"/>
                  <a:pt x="0" y="0"/>
                </a:cubicBezTo>
                <a:close/>
              </a:path>
              <a:path w="6155531" h="2154436" stroke="0" extrusionOk="0">
                <a:moveTo>
                  <a:pt x="0" y="0"/>
                </a:moveTo>
                <a:cubicBezTo>
                  <a:pt x="183377" y="3282"/>
                  <a:pt x="323515" y="-8499"/>
                  <a:pt x="622393" y="0"/>
                </a:cubicBezTo>
                <a:cubicBezTo>
                  <a:pt x="921271" y="8499"/>
                  <a:pt x="1065346" y="23203"/>
                  <a:pt x="1429451" y="0"/>
                </a:cubicBezTo>
                <a:cubicBezTo>
                  <a:pt x="1793556" y="-23203"/>
                  <a:pt x="2025152" y="5249"/>
                  <a:pt x="2174954" y="0"/>
                </a:cubicBezTo>
                <a:cubicBezTo>
                  <a:pt x="2324756" y="-5249"/>
                  <a:pt x="2562939" y="22017"/>
                  <a:pt x="2674236" y="0"/>
                </a:cubicBezTo>
                <a:cubicBezTo>
                  <a:pt x="2785533" y="-22017"/>
                  <a:pt x="3052344" y="-14164"/>
                  <a:pt x="3358184" y="0"/>
                </a:cubicBezTo>
                <a:cubicBezTo>
                  <a:pt x="3664024" y="14164"/>
                  <a:pt x="3791360" y="18192"/>
                  <a:pt x="4103687" y="0"/>
                </a:cubicBezTo>
                <a:cubicBezTo>
                  <a:pt x="4416014" y="-18192"/>
                  <a:pt x="4432204" y="8771"/>
                  <a:pt x="4602969" y="0"/>
                </a:cubicBezTo>
                <a:cubicBezTo>
                  <a:pt x="4773734" y="-8771"/>
                  <a:pt x="4996328" y="24933"/>
                  <a:pt x="5225362" y="0"/>
                </a:cubicBezTo>
                <a:cubicBezTo>
                  <a:pt x="5454396" y="-24933"/>
                  <a:pt x="5730892" y="-14438"/>
                  <a:pt x="6155531" y="0"/>
                </a:cubicBezTo>
                <a:cubicBezTo>
                  <a:pt x="6151252" y="126449"/>
                  <a:pt x="6140272" y="355904"/>
                  <a:pt x="6155531" y="517065"/>
                </a:cubicBezTo>
                <a:cubicBezTo>
                  <a:pt x="6170790" y="678226"/>
                  <a:pt x="6175853" y="893947"/>
                  <a:pt x="6155531" y="1077218"/>
                </a:cubicBezTo>
                <a:cubicBezTo>
                  <a:pt x="6135209" y="1260489"/>
                  <a:pt x="6154346" y="1514529"/>
                  <a:pt x="6155531" y="1658916"/>
                </a:cubicBezTo>
                <a:cubicBezTo>
                  <a:pt x="6156716" y="1803303"/>
                  <a:pt x="6155813" y="2010479"/>
                  <a:pt x="6155531" y="2154436"/>
                </a:cubicBezTo>
                <a:cubicBezTo>
                  <a:pt x="6051749" y="2134465"/>
                  <a:pt x="5791425" y="2170911"/>
                  <a:pt x="5656249" y="2154436"/>
                </a:cubicBezTo>
                <a:cubicBezTo>
                  <a:pt x="5521073" y="2137961"/>
                  <a:pt x="5372498" y="2165835"/>
                  <a:pt x="5156967" y="2154436"/>
                </a:cubicBezTo>
                <a:cubicBezTo>
                  <a:pt x="4941436" y="2143037"/>
                  <a:pt x="4543657" y="2122221"/>
                  <a:pt x="4349909" y="2154436"/>
                </a:cubicBezTo>
                <a:cubicBezTo>
                  <a:pt x="4156161" y="2186651"/>
                  <a:pt x="3933530" y="2157110"/>
                  <a:pt x="3604405" y="2154436"/>
                </a:cubicBezTo>
                <a:cubicBezTo>
                  <a:pt x="3275280" y="2151762"/>
                  <a:pt x="3316028" y="2146340"/>
                  <a:pt x="3043568" y="2154436"/>
                </a:cubicBezTo>
                <a:cubicBezTo>
                  <a:pt x="2771108" y="2162532"/>
                  <a:pt x="2624933" y="2167410"/>
                  <a:pt x="2236510" y="2154436"/>
                </a:cubicBezTo>
                <a:cubicBezTo>
                  <a:pt x="1848087" y="2141462"/>
                  <a:pt x="1966188" y="2153468"/>
                  <a:pt x="1737228" y="2154436"/>
                </a:cubicBezTo>
                <a:cubicBezTo>
                  <a:pt x="1508268" y="2155404"/>
                  <a:pt x="1352918" y="2159449"/>
                  <a:pt x="1237946" y="2154436"/>
                </a:cubicBezTo>
                <a:cubicBezTo>
                  <a:pt x="1122974" y="2149423"/>
                  <a:pt x="902476" y="2153903"/>
                  <a:pt x="677108" y="2154436"/>
                </a:cubicBezTo>
                <a:cubicBezTo>
                  <a:pt x="451740" y="2154969"/>
                  <a:pt x="200303" y="2187385"/>
                  <a:pt x="0" y="2154436"/>
                </a:cubicBezTo>
                <a:cubicBezTo>
                  <a:pt x="20995" y="2003716"/>
                  <a:pt x="-3278" y="1840685"/>
                  <a:pt x="0" y="1658916"/>
                </a:cubicBezTo>
                <a:cubicBezTo>
                  <a:pt x="3278" y="1477147"/>
                  <a:pt x="-5123" y="1213124"/>
                  <a:pt x="0" y="1077218"/>
                </a:cubicBezTo>
                <a:cubicBezTo>
                  <a:pt x="5123" y="941312"/>
                  <a:pt x="-5988" y="778907"/>
                  <a:pt x="0" y="560153"/>
                </a:cubicBezTo>
                <a:cubicBezTo>
                  <a:pt x="5988" y="341399"/>
                  <a:pt x="-5156" y="118853"/>
                  <a:pt x="0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304093822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f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tru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)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std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::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CE5C00"/>
                </a:solidFill>
                <a:effectLst/>
                <a:latin typeface="Aptos Mono" panose="020B0009020202020204" pitchFamily="49" charset="0"/>
              </a:rPr>
              <a:t>cou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&lt;&l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Hell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&lt;&l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std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::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endl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;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els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std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::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CE5C00"/>
                </a:solidFill>
                <a:effectLst/>
                <a:latin typeface="Aptos Mono" panose="020B0009020202020204" pitchFamily="49" charset="0"/>
              </a:rPr>
              <a:t>cou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&lt;&l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World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&lt;&l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std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::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endl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</a:t>
            </a:r>
          </a:p>
        </p:txBody>
      </p:sp>
      <p:sp>
        <p:nvSpPr>
          <p:cNvPr id="2" name="Arrow: Curved Down 1">
            <a:extLst>
              <a:ext uri="{FF2B5EF4-FFF2-40B4-BE49-F238E27FC236}">
                <a16:creationId xmlns:a16="http://schemas.microsoft.com/office/drawing/2014/main" id="{DC86CBC3-7C88-248C-5EF7-26BD03A22556}"/>
              </a:ext>
            </a:extLst>
          </p:cNvPr>
          <p:cNvSpPr/>
          <p:nvPr/>
        </p:nvSpPr>
        <p:spPr>
          <a:xfrm rot="1252957">
            <a:off x="4577113" y="2761987"/>
            <a:ext cx="3683171" cy="1938888"/>
          </a:xfrm>
          <a:prstGeom prst="curvedDownArrow">
            <a:avLst>
              <a:gd name="adj1" fmla="val 16762"/>
              <a:gd name="adj2" fmla="val 46204"/>
              <a:gd name="adj3" fmla="val 62238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1600" noProof="0" dirty="0" err="1">
              <a:solidFill>
                <a:schemeClr val="tx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552878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ilation – Hieroglyphic Template Error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3328E3F-3279-EFC1-A8D0-6732966926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078" y="1720378"/>
            <a:ext cx="4462760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templat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lt;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typenam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gt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clas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Stabl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publi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: </a:t>
            </a:r>
            <a:endParaRPr lang="da-DK" altLang="da-DK" sz="2000" dirty="0">
              <a:latin typeface="Aptos Mono" panose="020B000902020202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void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listenT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 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0000"/>
                </a:solidFill>
                <a:effectLst/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0000"/>
                </a:solidFill>
                <a:effectLst/>
                <a:latin typeface="Aptos Mono" panose="020B0009020202020204" pitchFamily="49" charset="0"/>
              </a:rPr>
              <a:t>animal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.makeSound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800000"/>
                </a:solidFill>
                <a:effectLst/>
                <a:latin typeface="Aptos Mono" panose="020B0009020202020204" pitchFamily="49" charset="0"/>
              </a:rPr>
              <a:t>animal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;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 {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  Stabl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lt;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&gt;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integerStabl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integerStable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.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listenTo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)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  retur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0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8B375A-AB5B-0AC2-8AD0-4687D56FCF10}"/>
              </a:ext>
            </a:extLst>
          </p:cNvPr>
          <p:cNvSpPr txBox="1"/>
          <p:nvPr/>
        </p:nvSpPr>
        <p:spPr>
          <a:xfrm>
            <a:off x="5638289" y="1435751"/>
            <a:ext cx="6097022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000" dirty="0">
                <a:latin typeface="Aptos Mono" panose="020B0009020202020204" pitchFamily="49" charset="0"/>
              </a:rPr>
              <a:t>main.cpp:22: </a:t>
            </a:r>
            <a:r>
              <a:rPr lang="da-DK" sz="2000" dirty="0" err="1">
                <a:latin typeface="Aptos Mono" panose="020B0009020202020204" pitchFamily="49" charset="0"/>
              </a:rPr>
              <a:t>error</a:t>
            </a:r>
            <a:r>
              <a:rPr lang="da-DK" sz="2000" dirty="0">
                <a:latin typeface="Aptos Mono" panose="020B0009020202020204" pitchFamily="49" charset="0"/>
              </a:rPr>
              <a:t>: </a:t>
            </a:r>
            <a:r>
              <a:rPr lang="da-DK" sz="2000" dirty="0" err="1">
                <a:latin typeface="Aptos Mono" panose="020B0009020202020204" pitchFamily="49" charset="0"/>
              </a:rPr>
              <a:t>request</a:t>
            </a:r>
            <a:r>
              <a:rPr lang="da-DK" sz="2000" dirty="0">
                <a:latin typeface="Aptos Mono" panose="020B0009020202020204" pitchFamily="49" charset="0"/>
              </a:rPr>
              <a:t> for </a:t>
            </a:r>
            <a:r>
              <a:rPr lang="da-DK" sz="2000" dirty="0" err="1">
                <a:latin typeface="Aptos Mono" panose="020B0009020202020204" pitchFamily="49" charset="0"/>
              </a:rPr>
              <a:t>member</a:t>
            </a:r>
            <a:r>
              <a:rPr lang="da-DK" sz="2000" dirty="0">
                <a:latin typeface="Aptos Mono" panose="020B0009020202020204" pitchFamily="49" charset="0"/>
              </a:rPr>
              <a:t> '</a:t>
            </a:r>
            <a:r>
              <a:rPr lang="da-DK" sz="2000" dirty="0" err="1">
                <a:latin typeface="Aptos Mono" panose="020B0009020202020204" pitchFamily="49" charset="0"/>
              </a:rPr>
              <a:t>makeSound</a:t>
            </a:r>
            <a:r>
              <a:rPr lang="da-DK" sz="2000" dirty="0">
                <a:latin typeface="Aptos Mono" panose="020B0009020202020204" pitchFamily="49" charset="0"/>
              </a:rPr>
              <a:t>' in '((Stable&lt;</a:t>
            </a:r>
            <a:r>
              <a:rPr lang="da-DK" sz="2000" dirty="0" err="1">
                <a:latin typeface="Aptos Mono" panose="020B0009020202020204" pitchFamily="49" charset="0"/>
              </a:rPr>
              <a:t>int</a:t>
            </a:r>
            <a:r>
              <a:rPr lang="da-DK" sz="2000" dirty="0">
                <a:latin typeface="Aptos Mono" panose="020B0009020202020204" pitchFamily="49" charset="0"/>
              </a:rPr>
              <a:t>&gt;*)</a:t>
            </a:r>
            <a:r>
              <a:rPr lang="da-DK" sz="2000" dirty="0" err="1">
                <a:latin typeface="Aptos Mono" panose="020B0009020202020204" pitchFamily="49" charset="0"/>
              </a:rPr>
              <a:t>this</a:t>
            </a:r>
            <a:r>
              <a:rPr lang="da-DK" sz="2000" dirty="0">
                <a:latin typeface="Aptos Mono" panose="020B0009020202020204" pitchFamily="49" charset="0"/>
              </a:rPr>
              <a:t>)-&gt;Stable&lt;</a:t>
            </a:r>
            <a:r>
              <a:rPr lang="da-DK" sz="2000" dirty="0" err="1">
                <a:latin typeface="Aptos Mono" panose="020B0009020202020204" pitchFamily="49" charset="0"/>
              </a:rPr>
              <a:t>int</a:t>
            </a:r>
            <a:r>
              <a:rPr lang="da-DK" sz="2000" dirty="0">
                <a:latin typeface="Aptos Mono" panose="020B0009020202020204" pitchFamily="49" charset="0"/>
              </a:rPr>
              <a:t>&gt;::</a:t>
            </a:r>
            <a:r>
              <a:rPr lang="da-DK" sz="2000" dirty="0" err="1">
                <a:latin typeface="Aptos Mono" panose="020B0009020202020204" pitchFamily="49" charset="0"/>
              </a:rPr>
              <a:t>animal</a:t>
            </a:r>
            <a:r>
              <a:rPr lang="da-DK" sz="2000" dirty="0">
                <a:latin typeface="Aptos Mono" panose="020B0009020202020204" pitchFamily="49" charset="0"/>
              </a:rPr>
              <a:t>', </a:t>
            </a:r>
            <a:r>
              <a:rPr lang="da-DK" sz="2000" dirty="0" err="1">
                <a:latin typeface="Aptos Mono" panose="020B0009020202020204" pitchFamily="49" charset="0"/>
              </a:rPr>
              <a:t>which</a:t>
            </a:r>
            <a:r>
              <a:rPr lang="da-DK" sz="2000" dirty="0">
                <a:latin typeface="Aptos Mono" panose="020B0009020202020204" pitchFamily="49" charset="0"/>
              </a:rPr>
              <a:t> is of non-class type '</a:t>
            </a:r>
            <a:r>
              <a:rPr lang="da-DK" sz="2000" dirty="0" err="1">
                <a:latin typeface="Aptos Mono" panose="020B0009020202020204" pitchFamily="49" charset="0"/>
              </a:rPr>
              <a:t>int</a:t>
            </a:r>
            <a:r>
              <a:rPr lang="da-DK" sz="2000" dirty="0">
                <a:latin typeface="Aptos Mono" panose="020B0009020202020204" pitchFamily="49" charset="0"/>
              </a:rPr>
              <a:t>’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main.cpp: In </a:t>
            </a:r>
            <a:r>
              <a:rPr lang="da-DK" sz="2000" dirty="0" err="1">
                <a:latin typeface="Aptos Mono" panose="020B0009020202020204" pitchFamily="49" charset="0"/>
              </a:rPr>
              <a:t>instantiation</a:t>
            </a:r>
            <a:r>
              <a:rPr lang="da-DK" sz="2000" dirty="0">
                <a:latin typeface="Aptos Mono" panose="020B0009020202020204" pitchFamily="49" charset="0"/>
              </a:rPr>
              <a:t> of '</a:t>
            </a:r>
            <a:r>
              <a:rPr lang="da-DK" sz="2000" dirty="0" err="1">
                <a:latin typeface="Aptos Mono" panose="020B0009020202020204" pitchFamily="49" charset="0"/>
              </a:rPr>
              <a:t>void</a:t>
            </a:r>
            <a:r>
              <a:rPr lang="da-DK" sz="2000" dirty="0">
                <a:latin typeface="Aptos Mono" panose="020B0009020202020204" pitchFamily="49" charset="0"/>
              </a:rPr>
              <a:t> Stable&lt;T&gt;::</a:t>
            </a:r>
            <a:r>
              <a:rPr lang="da-DK" sz="2000" dirty="0" err="1">
                <a:latin typeface="Aptos Mono" panose="020B0009020202020204" pitchFamily="49" charset="0"/>
              </a:rPr>
              <a:t>listenTo</a:t>
            </a:r>
            <a:r>
              <a:rPr lang="da-DK" sz="2000" dirty="0">
                <a:latin typeface="Aptos Mono" panose="020B0009020202020204" pitchFamily="49" charset="0"/>
              </a:rPr>
              <a:t>() [with T = </a:t>
            </a:r>
            <a:r>
              <a:rPr lang="da-DK" sz="2000" dirty="0" err="1">
                <a:latin typeface="Aptos Mono" panose="020B0009020202020204" pitchFamily="49" charset="0"/>
              </a:rPr>
              <a:t>int</a:t>
            </a:r>
            <a:r>
              <a:rPr lang="da-DK" sz="2000" dirty="0">
                <a:latin typeface="Aptos Mono" panose="020B0009020202020204" pitchFamily="49" charset="0"/>
              </a:rPr>
              <a:t>]’: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main.cpp:22:27:   </a:t>
            </a:r>
            <a:r>
              <a:rPr lang="da-DK" sz="2000" dirty="0" err="1">
                <a:latin typeface="Aptos Mono" panose="020B0009020202020204" pitchFamily="49" charset="0"/>
              </a:rPr>
              <a:t>required</a:t>
            </a:r>
            <a:r>
              <a:rPr lang="da-DK" sz="2000" dirty="0">
                <a:latin typeface="Aptos Mono" panose="020B0009020202020204" pitchFamily="49" charset="0"/>
              </a:rPr>
              <a:t> from </a:t>
            </a:r>
            <a:r>
              <a:rPr lang="da-DK" sz="2000" dirty="0" err="1">
                <a:latin typeface="Aptos Mono" panose="020B0009020202020204" pitchFamily="49" charset="0"/>
              </a:rPr>
              <a:t>here</a:t>
            </a:r>
            <a:endParaRPr lang="da-DK" sz="2000" dirty="0">
              <a:latin typeface="Aptos Mono" panose="020B0009020202020204" pitchFamily="49" charset="0"/>
            </a:endParaRPr>
          </a:p>
          <a:p>
            <a:r>
              <a:rPr lang="da-DK" sz="2000" dirty="0">
                <a:latin typeface="Aptos Mono" panose="020B0009020202020204" pitchFamily="49" charset="0"/>
              </a:rPr>
              <a:t>main.cpp:12:16: </a:t>
            </a:r>
            <a:r>
              <a:rPr lang="da-DK" sz="2000" dirty="0" err="1">
                <a:latin typeface="Aptos Mono" panose="020B0009020202020204" pitchFamily="49" charset="0"/>
              </a:rPr>
              <a:t>error</a:t>
            </a:r>
            <a:r>
              <a:rPr lang="da-DK" sz="2000" dirty="0">
                <a:latin typeface="Aptos Mono" panose="020B0009020202020204" pitchFamily="49" charset="0"/>
              </a:rPr>
              <a:t>: </a:t>
            </a:r>
            <a:r>
              <a:rPr lang="da-DK" sz="2000" dirty="0" err="1">
                <a:latin typeface="Aptos Mono" panose="020B0009020202020204" pitchFamily="49" charset="0"/>
              </a:rPr>
              <a:t>request</a:t>
            </a:r>
            <a:r>
              <a:rPr lang="da-DK" sz="2000" dirty="0">
                <a:latin typeface="Aptos Mono" panose="020B0009020202020204" pitchFamily="49" charset="0"/>
              </a:rPr>
              <a:t> for </a:t>
            </a:r>
            <a:r>
              <a:rPr lang="da-DK" sz="2000" dirty="0" err="1">
                <a:latin typeface="Aptos Mono" panose="020B0009020202020204" pitchFamily="49" charset="0"/>
              </a:rPr>
              <a:t>member</a:t>
            </a:r>
            <a:r>
              <a:rPr lang="da-DK" sz="2000" dirty="0">
                <a:latin typeface="Aptos Mono" panose="020B0009020202020204" pitchFamily="49" charset="0"/>
              </a:rPr>
              <a:t> '</a:t>
            </a:r>
            <a:r>
              <a:rPr lang="da-DK" sz="2000" dirty="0" err="1">
                <a:latin typeface="Aptos Mono" panose="020B0009020202020204" pitchFamily="49" charset="0"/>
              </a:rPr>
              <a:t>makeSound</a:t>
            </a:r>
            <a:r>
              <a:rPr lang="da-DK" sz="2000" dirty="0">
                <a:latin typeface="Aptos Mono" panose="020B0009020202020204" pitchFamily="49" charset="0"/>
              </a:rPr>
              <a:t>' in '((Stable&lt;</a:t>
            </a:r>
            <a:r>
              <a:rPr lang="da-DK" sz="2000" dirty="0" err="1">
                <a:latin typeface="Aptos Mono" panose="020B0009020202020204" pitchFamily="49" charset="0"/>
              </a:rPr>
              <a:t>int</a:t>
            </a:r>
            <a:r>
              <a:rPr lang="da-DK" sz="2000" dirty="0">
                <a:latin typeface="Aptos Mono" panose="020B0009020202020204" pitchFamily="49" charset="0"/>
              </a:rPr>
              <a:t>&gt;*)</a:t>
            </a:r>
            <a:r>
              <a:rPr lang="da-DK" sz="2000" dirty="0" err="1">
                <a:latin typeface="Aptos Mono" panose="020B0009020202020204" pitchFamily="49" charset="0"/>
              </a:rPr>
              <a:t>this</a:t>
            </a:r>
            <a:r>
              <a:rPr lang="da-DK" sz="2000" dirty="0">
                <a:latin typeface="Aptos Mono" panose="020B0009020202020204" pitchFamily="49" charset="0"/>
              </a:rPr>
              <a:t>)-&gt;Stable&lt;</a:t>
            </a:r>
            <a:r>
              <a:rPr lang="da-DK" sz="2000" dirty="0" err="1">
                <a:latin typeface="Aptos Mono" panose="020B0009020202020204" pitchFamily="49" charset="0"/>
              </a:rPr>
              <a:t>int</a:t>
            </a:r>
            <a:r>
              <a:rPr lang="da-DK" sz="2000" dirty="0">
                <a:latin typeface="Aptos Mono" panose="020B0009020202020204" pitchFamily="49" charset="0"/>
              </a:rPr>
              <a:t>&gt;::</a:t>
            </a:r>
            <a:r>
              <a:rPr lang="da-DK" sz="2000" dirty="0" err="1">
                <a:latin typeface="Aptos Mono" panose="020B0009020202020204" pitchFamily="49" charset="0"/>
              </a:rPr>
              <a:t>animal</a:t>
            </a:r>
            <a:r>
              <a:rPr lang="da-DK" sz="2000" dirty="0">
                <a:latin typeface="Aptos Mono" panose="020B0009020202020204" pitchFamily="49" charset="0"/>
              </a:rPr>
              <a:t>', </a:t>
            </a:r>
            <a:r>
              <a:rPr lang="da-DK" sz="2000" dirty="0" err="1">
                <a:latin typeface="Aptos Mono" panose="020B0009020202020204" pitchFamily="49" charset="0"/>
              </a:rPr>
              <a:t>which</a:t>
            </a:r>
            <a:r>
              <a:rPr lang="da-DK" sz="2000" dirty="0">
                <a:latin typeface="Aptos Mono" panose="020B0009020202020204" pitchFamily="49" charset="0"/>
              </a:rPr>
              <a:t> is of non-class type '</a:t>
            </a:r>
            <a:r>
              <a:rPr lang="da-DK" sz="2000" dirty="0" err="1">
                <a:latin typeface="Aptos Mono" panose="020B0009020202020204" pitchFamily="49" charset="0"/>
              </a:rPr>
              <a:t>int</a:t>
            </a:r>
            <a:r>
              <a:rPr lang="da-DK" sz="2000" dirty="0">
                <a:latin typeface="Aptos Mono" panose="020B0009020202020204" pitchFamily="49" charset="0"/>
              </a:rPr>
              <a:t>'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12 |         </a:t>
            </a:r>
            <a:r>
              <a:rPr lang="da-DK" sz="2000" dirty="0" err="1">
                <a:latin typeface="Aptos Mono" panose="020B0009020202020204" pitchFamily="49" charset="0"/>
              </a:rPr>
              <a:t>animal.makeSound</a:t>
            </a:r>
            <a:r>
              <a:rPr lang="da-DK" sz="2000" dirty="0">
                <a:latin typeface="Aptos Mono" panose="020B0009020202020204" pitchFamily="49" charset="0"/>
              </a:rPr>
              <a:t>();</a:t>
            </a:r>
          </a:p>
          <a:p>
            <a:r>
              <a:rPr lang="da-DK" sz="2000" dirty="0">
                <a:latin typeface="Aptos Mono" panose="020B0009020202020204" pitchFamily="49" charset="0"/>
              </a:rPr>
              <a:t>      |         ~~~~~~~^~~~~~~~~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417398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A74A79-64F2-343D-CA54-42BE4DAA9A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159BD220-7C78-B51B-5D6B-C2E7B17CF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ilation - Error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8807C4-4C26-0BF4-52C1-4D2482E46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18D99D-0570-7EE1-3681-3F6DB987D4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C0C3AD-EE41-ADB4-E52E-2F0BA0EE8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B83F063-D571-BCBD-8F0D-394E1248062C}"/>
              </a:ext>
            </a:extLst>
          </p:cNvPr>
          <p:cNvSpPr txBox="1"/>
          <p:nvPr/>
        </p:nvSpPr>
        <p:spPr>
          <a:xfrm>
            <a:off x="748419" y="1859542"/>
            <a:ext cx="1686359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2000" dirty="0"/>
              <a:t>Errors about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2000" dirty="0"/>
              <a:t>Express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2000" dirty="0"/>
              <a:t>Statemen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2000" dirty="0"/>
              <a:t>Scop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2000" dirty="0"/>
              <a:t>Types</a:t>
            </a:r>
            <a:endParaRPr lang="da-DK" sz="2000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0E607E-C758-393D-9028-16669FEB5376}"/>
              </a:ext>
            </a:extLst>
          </p:cNvPr>
          <p:cNvSpPr txBox="1"/>
          <p:nvPr/>
        </p:nvSpPr>
        <p:spPr>
          <a:xfrm>
            <a:off x="5897575" y="1859541"/>
            <a:ext cx="4943475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/>
              <a:t>It 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de you typ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de you can fix by typing your code differently</a:t>
            </a:r>
          </a:p>
          <a:p>
            <a:pPr algn="l"/>
            <a:endParaRPr lang="da-DK" sz="2000" dirty="0" err="1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D0C26F1D-7B01-FE7E-FBCB-C2A6BFCF9A11}"/>
              </a:ext>
            </a:extLst>
          </p:cNvPr>
          <p:cNvSpPr>
            <a:spLocks noGrp="1"/>
          </p:cNvSpPr>
          <p:nvPr>
            <p:ph type="subTitle" idx="18"/>
          </p:nvPr>
        </p:nvSpPr>
        <p:spPr/>
        <p:txBody>
          <a:bodyPr/>
          <a:lstStyle/>
          <a:p>
            <a:endParaRPr lang="da-DK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195599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16BF40-B200-6B93-F7CA-8661485FEC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8B377494-CD1B-2362-4871-1F22B06DEC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75" y="554080"/>
            <a:ext cx="11471250" cy="578448"/>
          </a:xfrm>
        </p:spPr>
        <p:txBody>
          <a:bodyPr/>
          <a:lstStyle/>
          <a:p>
            <a:r>
              <a:rPr lang="en-GB" dirty="0"/>
              <a:t>Over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21A60E-77EA-50E7-EF00-AA742503F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BAA423-0B08-AF6C-99A0-8EFF7986D9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8E795A-D1D6-3E46-04CF-6C5189CBC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58432E-6BFC-7932-B465-54B3F9E33137}"/>
              </a:ext>
            </a:extLst>
          </p:cNvPr>
          <p:cNvSpPr/>
          <p:nvPr/>
        </p:nvSpPr>
        <p:spPr>
          <a:xfrm>
            <a:off x="1449115" y="2024186"/>
            <a:ext cx="9170335" cy="644050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Preprocessing</a:t>
            </a:r>
            <a:endParaRPr lang="da-DK" sz="1600" noProof="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1B72F5-8A3D-2E1C-C730-0B9E64F64390}"/>
              </a:ext>
            </a:extLst>
          </p:cNvPr>
          <p:cNvSpPr/>
          <p:nvPr/>
        </p:nvSpPr>
        <p:spPr>
          <a:xfrm>
            <a:off x="1446759" y="1253310"/>
            <a:ext cx="9170335" cy="586128"/>
          </a:xfrm>
          <a:prstGeom prst="rect">
            <a:avLst/>
          </a:prstGeom>
          <a:ln>
            <a:solidFill>
              <a:srgbClr val="79797F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/>
              <a:t>Typing </a:t>
            </a:r>
            <a:r>
              <a:rPr lang="da-DK" sz="1600" dirty="0" err="1"/>
              <a:t>code</a:t>
            </a:r>
            <a:endParaRPr lang="da-DK" sz="1600" noProof="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4702DF-BA97-3216-FFDA-DFFECC544123}"/>
              </a:ext>
            </a:extLst>
          </p:cNvPr>
          <p:cNvSpPr/>
          <p:nvPr/>
        </p:nvSpPr>
        <p:spPr>
          <a:xfrm>
            <a:off x="1448321" y="2804151"/>
            <a:ext cx="9171129" cy="160184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Compiling</a:t>
            </a:r>
            <a:endParaRPr lang="da-DK" sz="1600" noProof="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1559C3-75D7-42A5-DA84-5EBB594A1144}"/>
              </a:ext>
            </a:extLst>
          </p:cNvPr>
          <p:cNvSpPr/>
          <p:nvPr/>
        </p:nvSpPr>
        <p:spPr>
          <a:xfrm>
            <a:off x="1449115" y="4528023"/>
            <a:ext cx="9151144" cy="1076667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Linking</a:t>
            </a:r>
            <a:endParaRPr lang="da-DK" sz="16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0F7842-0017-5FDE-C3DB-265A46758AA3}"/>
              </a:ext>
            </a:extLst>
          </p:cNvPr>
          <p:cNvSpPr/>
          <p:nvPr/>
        </p:nvSpPr>
        <p:spPr>
          <a:xfrm>
            <a:off x="1449115" y="5827003"/>
            <a:ext cx="9151144" cy="712269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Flashing</a:t>
            </a:r>
            <a:endParaRPr lang="da-DK" sz="1600" noProof="0" dirty="0" err="1"/>
          </a:p>
        </p:txBody>
      </p:sp>
      <p:sp>
        <p:nvSpPr>
          <p:cNvPr id="12" name="Scroll: Vertical 11">
            <a:extLst>
              <a:ext uri="{FF2B5EF4-FFF2-40B4-BE49-F238E27FC236}">
                <a16:creationId xmlns:a16="http://schemas.microsoft.com/office/drawing/2014/main" id="{3F480846-8B78-C1F9-9586-9B34E64EC97A}"/>
              </a:ext>
            </a:extLst>
          </p:cNvPr>
          <p:cNvSpPr/>
          <p:nvPr/>
        </p:nvSpPr>
        <p:spPr>
          <a:xfrm>
            <a:off x="3748468" y="1341531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</a:t>
            </a:r>
            <a:r>
              <a:rPr lang="da-DK" sz="1600" noProof="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15" name="Scroll: Vertical 14">
            <a:extLst>
              <a:ext uri="{FF2B5EF4-FFF2-40B4-BE49-F238E27FC236}">
                <a16:creationId xmlns:a16="http://schemas.microsoft.com/office/drawing/2014/main" id="{BC39D748-DE6D-F8FE-6002-1719482E318F}"/>
              </a:ext>
            </a:extLst>
          </p:cNvPr>
          <p:cNvSpPr/>
          <p:nvPr/>
        </p:nvSpPr>
        <p:spPr>
          <a:xfrm>
            <a:off x="4882645" y="1349096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0" name="Scroll: Vertical 19">
            <a:extLst>
              <a:ext uri="{FF2B5EF4-FFF2-40B4-BE49-F238E27FC236}">
                <a16:creationId xmlns:a16="http://schemas.microsoft.com/office/drawing/2014/main" id="{E1051898-7E34-EF66-5F54-34EF3C6C0284}"/>
              </a:ext>
            </a:extLst>
          </p:cNvPr>
          <p:cNvSpPr/>
          <p:nvPr/>
        </p:nvSpPr>
        <p:spPr>
          <a:xfrm>
            <a:off x="3787049" y="2134516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</a:t>
            </a:r>
            <a:r>
              <a:rPr lang="da-DK" sz="1600" noProof="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1" name="Scroll: Vertical 20">
            <a:extLst>
              <a:ext uri="{FF2B5EF4-FFF2-40B4-BE49-F238E27FC236}">
                <a16:creationId xmlns:a16="http://schemas.microsoft.com/office/drawing/2014/main" id="{C533E178-DA46-9B51-287C-9386BE05737C}"/>
              </a:ext>
            </a:extLst>
          </p:cNvPr>
          <p:cNvSpPr/>
          <p:nvPr/>
        </p:nvSpPr>
        <p:spPr>
          <a:xfrm>
            <a:off x="4921226" y="2123878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4" name="Scroll: Vertical 23">
            <a:extLst>
              <a:ext uri="{FF2B5EF4-FFF2-40B4-BE49-F238E27FC236}">
                <a16:creationId xmlns:a16="http://schemas.microsoft.com/office/drawing/2014/main" id="{F2E55CC3-2CFF-557E-C2CF-2D1533B3B6E2}"/>
              </a:ext>
            </a:extLst>
          </p:cNvPr>
          <p:cNvSpPr/>
          <p:nvPr/>
        </p:nvSpPr>
        <p:spPr>
          <a:xfrm>
            <a:off x="3748468" y="2926179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i</a:t>
            </a:r>
          </a:p>
        </p:txBody>
      </p:sp>
      <p:sp>
        <p:nvSpPr>
          <p:cNvPr id="25" name="Scroll: Vertical 24">
            <a:extLst>
              <a:ext uri="{FF2B5EF4-FFF2-40B4-BE49-F238E27FC236}">
                <a16:creationId xmlns:a16="http://schemas.microsoft.com/office/drawing/2014/main" id="{8312CF9F-8F48-7F0B-8ABF-77978B7B953F}"/>
              </a:ext>
            </a:extLst>
          </p:cNvPr>
          <p:cNvSpPr/>
          <p:nvPr/>
        </p:nvSpPr>
        <p:spPr>
          <a:xfrm>
            <a:off x="4882644" y="2954428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i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8" name="Scroll: Vertical 27">
            <a:extLst>
              <a:ext uri="{FF2B5EF4-FFF2-40B4-BE49-F238E27FC236}">
                <a16:creationId xmlns:a16="http://schemas.microsoft.com/office/drawing/2014/main" id="{650FB2DC-E92E-E97A-5A9F-786E39BE52D2}"/>
              </a:ext>
            </a:extLst>
          </p:cNvPr>
          <p:cNvSpPr/>
          <p:nvPr/>
        </p:nvSpPr>
        <p:spPr>
          <a:xfrm>
            <a:off x="3706030" y="4853244"/>
            <a:ext cx="933651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o</a:t>
            </a:r>
          </a:p>
        </p:txBody>
      </p:sp>
      <p:sp>
        <p:nvSpPr>
          <p:cNvPr id="29" name="Scroll: Vertical 28">
            <a:extLst>
              <a:ext uri="{FF2B5EF4-FFF2-40B4-BE49-F238E27FC236}">
                <a16:creationId xmlns:a16="http://schemas.microsoft.com/office/drawing/2014/main" id="{5733B013-1B6F-4A01-E377-421DA7049DFE}"/>
              </a:ext>
            </a:extLst>
          </p:cNvPr>
          <p:cNvSpPr/>
          <p:nvPr/>
        </p:nvSpPr>
        <p:spPr>
          <a:xfrm>
            <a:off x="4840206" y="4849572"/>
            <a:ext cx="933651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o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33" name="Scroll: Vertical 32">
            <a:extLst>
              <a:ext uri="{FF2B5EF4-FFF2-40B4-BE49-F238E27FC236}">
                <a16:creationId xmlns:a16="http://schemas.microsoft.com/office/drawing/2014/main" id="{D510F786-27FC-8981-89B0-03971947BBF4}"/>
              </a:ext>
            </a:extLst>
          </p:cNvPr>
          <p:cNvSpPr/>
          <p:nvPr/>
        </p:nvSpPr>
        <p:spPr>
          <a:xfrm>
            <a:off x="6009409" y="4851133"/>
            <a:ext cx="1816769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Linker script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E9BFA43-3FB0-A447-16F7-F929165E38D4}"/>
              </a:ext>
            </a:extLst>
          </p:cNvPr>
          <p:cNvGrpSpPr/>
          <p:nvPr/>
        </p:nvGrpSpPr>
        <p:grpSpPr>
          <a:xfrm>
            <a:off x="8322614" y="4697172"/>
            <a:ext cx="2121569" cy="737937"/>
            <a:chOff x="4079975" y="-887980"/>
            <a:chExt cx="2121569" cy="737937"/>
          </a:xfrm>
        </p:grpSpPr>
        <p:sp>
          <p:nvSpPr>
            <p:cNvPr id="34" name="Scroll: Vertical 33">
              <a:extLst>
                <a:ext uri="{FF2B5EF4-FFF2-40B4-BE49-F238E27FC236}">
                  <a16:creationId xmlns:a16="http://schemas.microsoft.com/office/drawing/2014/main" id="{3DF92949-A2D1-CA3B-7DC7-D788E7535F9D}"/>
                </a:ext>
              </a:extLst>
            </p:cNvPr>
            <p:cNvSpPr/>
            <p:nvPr/>
          </p:nvSpPr>
          <p:spPr>
            <a:xfrm>
              <a:off x="4079975" y="-8879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  <p:sp>
          <p:nvSpPr>
            <p:cNvPr id="35" name="Scroll: Vertical 34">
              <a:extLst>
                <a:ext uri="{FF2B5EF4-FFF2-40B4-BE49-F238E27FC236}">
                  <a16:creationId xmlns:a16="http://schemas.microsoft.com/office/drawing/2014/main" id="{27B5A472-A653-D9C2-D830-918702220BA3}"/>
                </a:ext>
              </a:extLst>
            </p:cNvPr>
            <p:cNvSpPr/>
            <p:nvPr/>
          </p:nvSpPr>
          <p:spPr>
            <a:xfrm>
              <a:off x="4232375" y="-7355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  <p:sp>
          <p:nvSpPr>
            <p:cNvPr id="36" name="Scroll: Vertical 35">
              <a:extLst>
                <a:ext uri="{FF2B5EF4-FFF2-40B4-BE49-F238E27FC236}">
                  <a16:creationId xmlns:a16="http://schemas.microsoft.com/office/drawing/2014/main" id="{6D94D33A-DD89-CA42-607B-D3F933FD1687}"/>
                </a:ext>
              </a:extLst>
            </p:cNvPr>
            <p:cNvSpPr/>
            <p:nvPr/>
          </p:nvSpPr>
          <p:spPr>
            <a:xfrm>
              <a:off x="4384775" y="-5831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</p:grpSp>
      <p:sp>
        <p:nvSpPr>
          <p:cNvPr id="40" name="Scroll: Vertical 39">
            <a:extLst>
              <a:ext uri="{FF2B5EF4-FFF2-40B4-BE49-F238E27FC236}">
                <a16:creationId xmlns:a16="http://schemas.microsoft.com/office/drawing/2014/main" id="{40251757-8B51-333A-913D-0E485325166C}"/>
              </a:ext>
            </a:extLst>
          </p:cNvPr>
          <p:cNvSpPr/>
          <p:nvPr/>
        </p:nvSpPr>
        <p:spPr>
          <a:xfrm>
            <a:off x="5526407" y="5966568"/>
            <a:ext cx="1816769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Hexfile</a:t>
            </a:r>
            <a:endParaRPr lang="da-DK" dirty="0">
              <a:solidFill>
                <a:schemeClr val="tx1"/>
              </a:solidFill>
            </a:endParaRPr>
          </a:p>
        </p:txBody>
      </p:sp>
      <p:cxnSp>
        <p:nvCxnSpPr>
          <p:cNvPr id="68" name="Connector: Curved 67">
            <a:extLst>
              <a:ext uri="{FF2B5EF4-FFF2-40B4-BE49-F238E27FC236}">
                <a16:creationId xmlns:a16="http://schemas.microsoft.com/office/drawing/2014/main" id="{2CDA58CA-ECDA-4784-E7BC-4D1C10B06B94}"/>
              </a:ext>
            </a:extLst>
          </p:cNvPr>
          <p:cNvCxnSpPr>
            <a:stCxn id="12" idx="2"/>
            <a:endCxn id="20" idx="0"/>
          </p:cNvCxnSpPr>
          <p:nvPr/>
        </p:nvCxnSpPr>
        <p:spPr>
          <a:xfrm rot="16200000" flipH="1">
            <a:off x="3992931" y="1954591"/>
            <a:ext cx="359848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Connector: Curved 69">
            <a:extLst>
              <a:ext uri="{FF2B5EF4-FFF2-40B4-BE49-F238E27FC236}">
                <a16:creationId xmlns:a16="http://schemas.microsoft.com/office/drawing/2014/main" id="{1501EFB3-BAED-14BE-8E96-CCD1C9E9527E}"/>
              </a:ext>
            </a:extLst>
          </p:cNvPr>
          <p:cNvCxnSpPr>
            <a:stCxn id="15" idx="2"/>
            <a:endCxn id="21" idx="0"/>
          </p:cNvCxnSpPr>
          <p:nvPr/>
        </p:nvCxnSpPr>
        <p:spPr>
          <a:xfrm rot="16200000" flipH="1">
            <a:off x="5136210" y="1953054"/>
            <a:ext cx="341645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Connector: Curved 71">
            <a:extLst>
              <a:ext uri="{FF2B5EF4-FFF2-40B4-BE49-F238E27FC236}">
                <a16:creationId xmlns:a16="http://schemas.microsoft.com/office/drawing/2014/main" id="{CA77CBF7-8829-50A0-610F-5DC336B2683C}"/>
              </a:ext>
            </a:extLst>
          </p:cNvPr>
          <p:cNvCxnSpPr>
            <a:stCxn id="20" idx="2"/>
            <a:endCxn id="24" idx="0"/>
          </p:cNvCxnSpPr>
          <p:nvPr/>
        </p:nvCxnSpPr>
        <p:spPr>
          <a:xfrm rot="5400000">
            <a:off x="3993593" y="2746916"/>
            <a:ext cx="358526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Connector: Curved 73">
            <a:extLst>
              <a:ext uri="{FF2B5EF4-FFF2-40B4-BE49-F238E27FC236}">
                <a16:creationId xmlns:a16="http://schemas.microsoft.com/office/drawing/2014/main" id="{C6000636-CC63-BD29-2350-3003251D41D6}"/>
              </a:ext>
            </a:extLst>
          </p:cNvPr>
          <p:cNvCxnSpPr>
            <a:stCxn id="21" idx="2"/>
            <a:endCxn id="25" idx="0"/>
          </p:cNvCxnSpPr>
          <p:nvPr/>
        </p:nvCxnSpPr>
        <p:spPr>
          <a:xfrm rot="5400000">
            <a:off x="5108326" y="2755720"/>
            <a:ext cx="397413" cy="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Connector: Curved 75">
            <a:extLst>
              <a:ext uri="{FF2B5EF4-FFF2-40B4-BE49-F238E27FC236}">
                <a16:creationId xmlns:a16="http://schemas.microsoft.com/office/drawing/2014/main" id="{BF9F9F02-988E-3F71-3FFC-97D5146C1210}"/>
              </a:ext>
            </a:extLst>
          </p:cNvPr>
          <p:cNvCxnSpPr>
            <a:stCxn id="24" idx="2"/>
            <a:endCxn id="28" idx="0"/>
          </p:cNvCxnSpPr>
          <p:nvPr/>
        </p:nvCxnSpPr>
        <p:spPr>
          <a:xfrm rot="16200000" flipH="1">
            <a:off x="3872692" y="4553080"/>
            <a:ext cx="600326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Connector: Curved 77">
            <a:extLst>
              <a:ext uri="{FF2B5EF4-FFF2-40B4-BE49-F238E27FC236}">
                <a16:creationId xmlns:a16="http://schemas.microsoft.com/office/drawing/2014/main" id="{16358688-F03B-C3EC-F78B-639436BA1AE7}"/>
              </a:ext>
            </a:extLst>
          </p:cNvPr>
          <p:cNvCxnSpPr>
            <a:endCxn id="29" idx="0"/>
          </p:cNvCxnSpPr>
          <p:nvPr/>
        </p:nvCxnSpPr>
        <p:spPr>
          <a:xfrm rot="5400000">
            <a:off x="5026006" y="4562194"/>
            <a:ext cx="568405" cy="635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Connector: Curved 79">
            <a:extLst>
              <a:ext uri="{FF2B5EF4-FFF2-40B4-BE49-F238E27FC236}">
                <a16:creationId xmlns:a16="http://schemas.microsoft.com/office/drawing/2014/main" id="{069BE865-B718-C4CD-5DB1-A79171D128AC}"/>
              </a:ext>
            </a:extLst>
          </p:cNvPr>
          <p:cNvCxnSpPr>
            <a:stCxn id="28" idx="2"/>
            <a:endCxn id="40" idx="0"/>
          </p:cNvCxnSpPr>
          <p:nvPr/>
        </p:nvCxnSpPr>
        <p:spPr>
          <a:xfrm rot="16200000" flipH="1">
            <a:off x="4963731" y="4495506"/>
            <a:ext cx="680187" cy="2261936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Connector: Curved 85">
            <a:extLst>
              <a:ext uri="{FF2B5EF4-FFF2-40B4-BE49-F238E27FC236}">
                <a16:creationId xmlns:a16="http://schemas.microsoft.com/office/drawing/2014/main" id="{E8BC6089-8A68-64BF-AFAF-F94310278618}"/>
              </a:ext>
            </a:extLst>
          </p:cNvPr>
          <p:cNvCxnSpPr>
            <a:stCxn id="29" idx="2"/>
            <a:endCxn id="40" idx="0"/>
          </p:cNvCxnSpPr>
          <p:nvPr/>
        </p:nvCxnSpPr>
        <p:spPr>
          <a:xfrm rot="16200000" flipH="1">
            <a:off x="5528983" y="5060758"/>
            <a:ext cx="683859" cy="1127760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Connector: Curved 87">
            <a:extLst>
              <a:ext uri="{FF2B5EF4-FFF2-40B4-BE49-F238E27FC236}">
                <a16:creationId xmlns:a16="http://schemas.microsoft.com/office/drawing/2014/main" id="{7D8D5C18-91FD-6177-BEF4-E8E964B4F006}"/>
              </a:ext>
            </a:extLst>
          </p:cNvPr>
          <p:cNvCxnSpPr>
            <a:stCxn id="33" idx="2"/>
            <a:endCxn id="40" idx="0"/>
          </p:cNvCxnSpPr>
          <p:nvPr/>
        </p:nvCxnSpPr>
        <p:spPr>
          <a:xfrm rot="5400000">
            <a:off x="6340010" y="5379052"/>
            <a:ext cx="672566" cy="48300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Connector: Curved 89">
            <a:extLst>
              <a:ext uri="{FF2B5EF4-FFF2-40B4-BE49-F238E27FC236}">
                <a16:creationId xmlns:a16="http://schemas.microsoft.com/office/drawing/2014/main" id="{62B33D54-A797-1988-1726-D12CDAC8D430}"/>
              </a:ext>
            </a:extLst>
          </p:cNvPr>
          <p:cNvCxnSpPr>
            <a:endCxn id="40" idx="0"/>
          </p:cNvCxnSpPr>
          <p:nvPr/>
        </p:nvCxnSpPr>
        <p:spPr>
          <a:xfrm rot="10800000" flipV="1">
            <a:off x="6434792" y="5435108"/>
            <a:ext cx="3101006" cy="531459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Arrow: Right 3">
            <a:extLst>
              <a:ext uri="{FF2B5EF4-FFF2-40B4-BE49-F238E27FC236}">
                <a16:creationId xmlns:a16="http://schemas.microsoft.com/office/drawing/2014/main" id="{11C52A09-AB13-FC45-CB02-EB12201AC7B5}"/>
              </a:ext>
            </a:extLst>
          </p:cNvPr>
          <p:cNvSpPr/>
          <p:nvPr/>
        </p:nvSpPr>
        <p:spPr>
          <a:xfrm>
            <a:off x="734745" y="4781475"/>
            <a:ext cx="579967" cy="569329"/>
          </a:xfrm>
          <a:prstGeom prst="rightArrow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1600" noProof="0" dirty="0" err="1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97329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3AFDFE-BBFF-8B7A-298E-3D9BCCFCC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762BCFA2-503A-B939-DF64-5E5DDE2467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1056" y="1715732"/>
            <a:ext cx="8513763" cy="2524143"/>
          </a:xfrm>
        </p:spPr>
        <p:txBody>
          <a:bodyPr/>
          <a:lstStyle/>
          <a:p>
            <a:r>
              <a:rPr lang="en-GB" dirty="0"/>
              <a:t>Linkin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609FE5-8B39-1D09-D506-CF187CF29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124D66-D772-EFC3-12A3-61949DC58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979E80-FF13-AAB6-A09B-D03D07223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6AE0D49-CB75-1B12-62A9-3BFD7713CBB7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0726" y="3254369"/>
            <a:ext cx="6750118" cy="2640593"/>
          </a:xfrm>
        </p:spPr>
        <p:txBody>
          <a:bodyPr/>
          <a:lstStyle/>
          <a:p>
            <a:r>
              <a:rPr lang="en-GB" sz="2000" dirty="0"/>
              <a:t>Takes all objects files</a:t>
            </a:r>
          </a:p>
          <a:p>
            <a:r>
              <a:rPr lang="en-GB" sz="2000" dirty="0"/>
              <a:t>Takes all libraries</a:t>
            </a:r>
          </a:p>
          <a:p>
            <a:r>
              <a:rPr lang="en-GB" sz="2000" dirty="0"/>
              <a:t>Merge them together</a:t>
            </a:r>
          </a:p>
          <a:p>
            <a:r>
              <a:rPr lang="en-GB" sz="2000" dirty="0"/>
              <a:t>Conforms to the linker script</a:t>
            </a:r>
          </a:p>
          <a:p>
            <a:r>
              <a:rPr lang="en-GB" sz="2000" dirty="0"/>
              <a:t>Creates a HEX file</a:t>
            </a:r>
          </a:p>
          <a:p>
            <a:endParaRPr lang="en-GB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F0809E-5B00-630E-11E4-BA00828630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60706" y="1782748"/>
            <a:ext cx="5084830" cy="38086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14259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silver and gold object&#10;&#10;AI-generated content may be incorrect.">
            <a:extLst>
              <a:ext uri="{FF2B5EF4-FFF2-40B4-BE49-F238E27FC236}">
                <a16:creationId xmlns:a16="http://schemas.microsoft.com/office/drawing/2014/main" id="{789A2E33-553E-496B-6938-8F2601976B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9919"/>
            <a:ext cx="12192000" cy="4709976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word from my employer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320DA48F-5B2E-4C74-8979-179280FDF9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227" y="1555552"/>
            <a:ext cx="11471250" cy="4283928"/>
          </a:xfrm>
        </p:spPr>
        <p:txBody>
          <a:bodyPr/>
          <a:lstStyle/>
          <a:p>
            <a:r>
              <a:rPr lang="en-GB" dirty="0"/>
              <a:t>Wells as thin as 5cm / 2”</a:t>
            </a:r>
          </a:p>
          <a:p>
            <a:r>
              <a:rPr lang="en-GB" dirty="0"/>
              <a:t>Harsh environments; 185</a:t>
            </a:r>
            <a:r>
              <a:rPr lang="da-DK" dirty="0">
                <a:solidFill>
                  <a:srgbClr val="001D35"/>
                </a:solidFill>
                <a:latin typeface="Google Sans"/>
              </a:rPr>
              <a:t>°</a:t>
            </a:r>
            <a:r>
              <a:rPr lang="en-GB" dirty="0"/>
              <a:t>C / 365</a:t>
            </a:r>
            <a:r>
              <a:rPr lang="da-DK" dirty="0">
                <a:solidFill>
                  <a:srgbClr val="001D35"/>
                </a:solidFill>
                <a:latin typeface="Google Sans"/>
              </a:rPr>
              <a:t>°</a:t>
            </a:r>
            <a:r>
              <a:rPr lang="en-GB" dirty="0"/>
              <a:t>F,800  bar/ 11,000 PSI and pH values from 2.9 to 11. </a:t>
            </a:r>
          </a:p>
          <a:p>
            <a:r>
              <a:rPr lang="en-GB" dirty="0"/>
              <a:t>Also, no sparks, please!</a:t>
            </a:r>
          </a:p>
          <a:p>
            <a:r>
              <a:rPr lang="en-GB" dirty="0"/>
              <a:t>Develop everything in-house</a:t>
            </a:r>
          </a:p>
          <a:p>
            <a:pPr lvl="1"/>
            <a:r>
              <a:rPr lang="en-GB" dirty="0"/>
              <a:t>Winds motors</a:t>
            </a:r>
          </a:p>
          <a:p>
            <a:pPr lvl="1"/>
            <a:r>
              <a:rPr lang="en-GB" dirty="0"/>
              <a:t>Manufactures hydraulic valves, pumps and compressors</a:t>
            </a:r>
          </a:p>
          <a:p>
            <a:r>
              <a:rPr lang="en-GB" dirty="0"/>
              <a:t>Embedded Linux</a:t>
            </a:r>
          </a:p>
          <a:p>
            <a:r>
              <a:rPr lang="en-GB" dirty="0" err="1"/>
              <a:t>Baremetal</a:t>
            </a:r>
            <a:r>
              <a:rPr lang="en-GB" dirty="0"/>
              <a:t> / DSP</a:t>
            </a:r>
          </a:p>
          <a:p>
            <a:r>
              <a:rPr lang="en-GB" dirty="0"/>
              <a:t>.NET/C#</a:t>
            </a:r>
          </a:p>
          <a:p>
            <a:r>
              <a:rPr lang="en-GB" dirty="0"/>
              <a:t>RS-485, CAN, TCP/IP, RS-232, in-house modems and protocols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3" name="Picture 2" descr="A close-up of a cylindrical object&#10;&#10;AI-generated content may be incorrect.">
            <a:extLst>
              <a:ext uri="{FF2B5EF4-FFF2-40B4-BE49-F238E27FC236}">
                <a16:creationId xmlns:a16="http://schemas.microsoft.com/office/drawing/2014/main" id="{4F104F2A-8D94-DE8A-E98F-9CCB46C4CE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661150" y="0"/>
            <a:ext cx="5530850" cy="3111104"/>
          </a:xfrm>
          <a:prstGeom prst="rect">
            <a:avLst/>
          </a:prstGeom>
        </p:spPr>
      </p:pic>
      <p:pic>
        <p:nvPicPr>
          <p:cNvPr id="10" name="Picture 9" descr="A close up of an object&#10;&#10;AI-generated content may be incorrect.">
            <a:extLst>
              <a:ext uri="{FF2B5EF4-FFF2-40B4-BE49-F238E27FC236}">
                <a16:creationId xmlns:a16="http://schemas.microsoft.com/office/drawing/2014/main" id="{568D9A27-C332-7EFF-31EF-C304420136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47487" y="1788391"/>
            <a:ext cx="5644513" cy="3175039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8471954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E833BD-1BDF-E37A-5E54-43E1890CED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291B3430-A579-0E3A-D273-C1966BCFF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nking – Over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09A0E3-B19B-0BC1-9EE7-C71C97633B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2658F8-3702-2F03-E306-D27F156B6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3A16D9-6768-16EB-F137-B0C37557F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BA830C-E145-253A-70AE-B4DE5636B784}"/>
              </a:ext>
            </a:extLst>
          </p:cNvPr>
          <p:cNvSpPr txBox="1"/>
          <p:nvPr/>
        </p:nvSpPr>
        <p:spPr>
          <a:xfrm>
            <a:off x="6763298" y="2810745"/>
            <a:ext cx="4884982" cy="1323439"/>
          </a:xfrm>
          <a:prstGeom prst="rect">
            <a:avLst/>
          </a:prstGeom>
          <a:solidFill>
            <a:srgbClr val="EEF7C1"/>
          </a:solidFill>
          <a:ln w="9525">
            <a:solidFill>
              <a:schemeClr val="tx1"/>
            </a:solidFill>
            <a:prstDash val="solid"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b="1" dirty="0" err="1"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addNumbers</a:t>
            </a:r>
            <a:r>
              <a:rPr lang="en-US" sz="2000" dirty="0">
                <a:latin typeface="Aptos Mono" panose="020B0009020202020204" pitchFamily="49" charset="0"/>
              </a:rPr>
              <a:t>(</a:t>
            </a:r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b="1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lang="en-US" sz="2000" dirty="0">
                <a:latin typeface="Aptos Mono" panose="020B0009020202020204" pitchFamily="49" charset="0"/>
              </a:rPr>
              <a:t>,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b="1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lang="en-US" sz="2000" dirty="0">
                <a:latin typeface="Aptos Mono" panose="020B0009020202020204" pitchFamily="49" charset="0"/>
              </a:rPr>
              <a:t>)</a:t>
            </a:r>
            <a:br>
              <a:rPr lang="en-US" sz="2000" dirty="0">
                <a:latin typeface="Aptos Mono" panose="020B0009020202020204" pitchFamily="49" charset="0"/>
              </a:rPr>
            </a:br>
            <a:r>
              <a:rPr lang="en-US" sz="2000" dirty="0">
                <a:latin typeface="Aptos Mono" panose="020B0009020202020204" pitchFamily="49" charset="0"/>
              </a:rPr>
              <a:t>{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</a:b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   </a:t>
            </a:r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return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latin typeface="Aptos Mono" panose="020B0009020202020204" pitchFamily="49" charset="0"/>
              </a:rPr>
              <a:t>+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lang="en-US" sz="2000" dirty="0">
                <a:latin typeface="Aptos Mono" panose="020B0009020202020204" pitchFamily="49" charset="0"/>
              </a:rPr>
              <a:t>;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</a:br>
            <a:r>
              <a:rPr lang="en-US" sz="2000" dirty="0">
                <a:latin typeface="Aptos Mono" panose="020B0009020202020204" pitchFamily="49" charset="0"/>
              </a:rPr>
              <a:t>}</a:t>
            </a:r>
            <a:endParaRPr lang="da-DK" sz="2000" dirty="0">
              <a:latin typeface="Aptos Mono" panose="020B0009020202020204" pitchFamily="49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6E93E7-65F7-6BAA-4821-7A52CD94E3B9}"/>
              </a:ext>
            </a:extLst>
          </p:cNvPr>
          <p:cNvSpPr txBox="1"/>
          <p:nvPr/>
        </p:nvSpPr>
        <p:spPr>
          <a:xfrm>
            <a:off x="768741" y="1937786"/>
            <a:ext cx="4659962" cy="1323439"/>
          </a:xfrm>
          <a:prstGeom prst="rect">
            <a:avLst/>
          </a:prstGeom>
          <a:solidFill>
            <a:srgbClr val="EEF7C1"/>
          </a:solidFill>
          <a:ln w="9525">
            <a:solidFill>
              <a:schemeClr val="tx1"/>
            </a:solidFill>
            <a:prstDash val="solid"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b="1" dirty="0" err="1"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addNumbers</a:t>
            </a:r>
            <a:r>
              <a:rPr lang="en-US" sz="2000" dirty="0">
                <a:latin typeface="Aptos Mono" panose="020B0009020202020204" pitchFamily="49" charset="0"/>
              </a:rPr>
              <a:t>(</a:t>
            </a:r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b="1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lang="en-US" sz="2000" dirty="0">
                <a:latin typeface="Aptos Mono" panose="020B0009020202020204" pitchFamily="49" charset="0"/>
              </a:rPr>
              <a:t>,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b="1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lang="en-US" sz="2000" dirty="0">
                <a:latin typeface="Aptos Mono" panose="020B0009020202020204" pitchFamily="49" charset="0"/>
              </a:rPr>
              <a:t>)</a:t>
            </a:r>
            <a:br>
              <a:rPr lang="en-US" sz="2000" dirty="0">
                <a:latin typeface="Aptos Mono" panose="020B0009020202020204" pitchFamily="49" charset="0"/>
              </a:rPr>
            </a:br>
            <a:r>
              <a:rPr lang="en-US" sz="2000" dirty="0">
                <a:latin typeface="Aptos Mono" panose="020B0009020202020204" pitchFamily="49" charset="0"/>
              </a:rPr>
              <a:t>{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</a:b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   </a:t>
            </a:r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return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latin typeface="Aptos Mono" panose="020B0009020202020204" pitchFamily="49" charset="0"/>
              </a:rPr>
              <a:t>+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lang="en-US" sz="2000" dirty="0">
                <a:latin typeface="Aptos Mono" panose="020B0009020202020204" pitchFamily="49" charset="0"/>
              </a:rPr>
              <a:t>;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</a:br>
            <a:endParaRPr lang="da-DK" sz="2000" dirty="0">
              <a:latin typeface="Aptos Mono" panose="020B0009020202020204" pitchFamily="49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0B23852D-0BBB-D307-9C11-F2B0316888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360" y="3766989"/>
            <a:ext cx="4964343" cy="1846659"/>
          </a:xfrm>
          <a:prstGeom prst="rect">
            <a:avLst/>
          </a:prstGeom>
          <a:solidFill>
            <a:srgbClr val="EEF7C1"/>
          </a:solidFill>
          <a:ln w="9525">
            <a:solidFill>
              <a:schemeClr val="tx1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rg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,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char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*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rgv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[])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   ...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46C5EA36-723C-8476-5DE6-21C2982367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3298" y="1580412"/>
            <a:ext cx="4884983" cy="1231106"/>
          </a:xfrm>
          <a:prstGeom prst="rect">
            <a:avLst/>
          </a:prstGeom>
          <a:solidFill>
            <a:srgbClr val="EEF7C1"/>
          </a:solidFill>
          <a:ln w="9525">
            <a:solidFill>
              <a:schemeClr val="tx1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rg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,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char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*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rgv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[])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   ...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ABD976-BE72-744D-F164-AEB6A5D813B7}"/>
              </a:ext>
            </a:extLst>
          </p:cNvPr>
          <p:cNvSpPr txBox="1"/>
          <p:nvPr/>
        </p:nvSpPr>
        <p:spPr>
          <a:xfrm>
            <a:off x="464360" y="1631963"/>
            <a:ext cx="4659962" cy="1323439"/>
          </a:xfrm>
          <a:prstGeom prst="rect">
            <a:avLst/>
          </a:prstGeom>
          <a:solidFill>
            <a:srgbClr val="EEF7C1"/>
          </a:solidFill>
          <a:ln w="9525">
            <a:solidFill>
              <a:schemeClr val="tx1"/>
            </a:solidFill>
            <a:prstDash val="solid"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b="1" dirty="0" err="1"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addNumbers</a:t>
            </a:r>
            <a:r>
              <a:rPr lang="en-US" sz="2000" dirty="0">
                <a:latin typeface="Aptos Mono" panose="020B0009020202020204" pitchFamily="49" charset="0"/>
              </a:rPr>
              <a:t>(</a:t>
            </a:r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b="1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lang="en-US" sz="2000" dirty="0">
                <a:latin typeface="Aptos Mono" panose="020B0009020202020204" pitchFamily="49" charset="0"/>
              </a:rPr>
              <a:t>,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b="1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lang="en-US" sz="2000" dirty="0">
                <a:latin typeface="Aptos Mono" panose="020B0009020202020204" pitchFamily="49" charset="0"/>
              </a:rPr>
              <a:t>)</a:t>
            </a:r>
            <a:br>
              <a:rPr lang="en-US" sz="2000" dirty="0">
                <a:latin typeface="Aptos Mono" panose="020B0009020202020204" pitchFamily="49" charset="0"/>
              </a:rPr>
            </a:br>
            <a:r>
              <a:rPr lang="en-US" sz="2000" dirty="0">
                <a:latin typeface="Aptos Mono" panose="020B0009020202020204" pitchFamily="49" charset="0"/>
              </a:rPr>
              <a:t>{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</a:b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   </a:t>
            </a:r>
            <a:r>
              <a:rPr lang="en-US" sz="2000" dirty="0"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return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latin typeface="Aptos Mono" panose="020B0009020202020204" pitchFamily="49" charset="0"/>
              </a:rPr>
              <a:t>+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lang="en-US" sz="2000" dirty="0"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b</a:t>
            </a:r>
            <a:r>
              <a:rPr lang="en-US" sz="2000" dirty="0">
                <a:latin typeface="Aptos Mono" panose="020B0009020202020204" pitchFamily="49" charset="0"/>
              </a:rPr>
              <a:t>;</a:t>
            </a:r>
            <a: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lang="en-US" sz="2000" dirty="0"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</a:br>
            <a:r>
              <a:rPr lang="en-US" sz="2000" dirty="0">
                <a:latin typeface="Aptos Mono" panose="020B0009020202020204" pitchFamily="49" charset="0"/>
              </a:rPr>
              <a:t>}</a:t>
            </a:r>
            <a:endParaRPr lang="da-DK" sz="2000" dirty="0">
              <a:latin typeface="Aptos Mono" panose="020B0009020202020204" pitchFamily="49" charset="0"/>
            </a:endParaRP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F15D6600-C804-EA00-E15B-C410F730CD4E}"/>
              </a:ext>
            </a:extLst>
          </p:cNvPr>
          <p:cNvCxnSpPr>
            <a:stCxn id="10" idx="3"/>
            <a:endCxn id="11" idx="1"/>
          </p:cNvCxnSpPr>
          <p:nvPr/>
        </p:nvCxnSpPr>
        <p:spPr>
          <a:xfrm>
            <a:off x="5124322" y="2293683"/>
            <a:ext cx="1638976" cy="1178782"/>
          </a:xfrm>
          <a:prstGeom prst="bentConnector3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49AD9073-3790-90FA-F734-E80CA08363F0}"/>
              </a:ext>
            </a:extLst>
          </p:cNvPr>
          <p:cNvCxnSpPr>
            <a:cxnSpLocks/>
            <a:stCxn id="12" idx="3"/>
            <a:endCxn id="14" idx="1"/>
          </p:cNvCxnSpPr>
          <p:nvPr/>
        </p:nvCxnSpPr>
        <p:spPr>
          <a:xfrm flipV="1">
            <a:off x="5428703" y="2195965"/>
            <a:ext cx="1334595" cy="2494354"/>
          </a:xfrm>
          <a:prstGeom prst="bentConnector3">
            <a:avLst>
              <a:gd name="adj1" fmla="val 68853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AC13401-84D1-E144-C4D0-B56C8365A429}"/>
              </a:ext>
            </a:extLst>
          </p:cNvPr>
          <p:cNvSpPr txBox="1"/>
          <p:nvPr/>
        </p:nvSpPr>
        <p:spPr>
          <a:xfrm>
            <a:off x="6763298" y="4134184"/>
            <a:ext cx="4884982" cy="400110"/>
          </a:xfrm>
          <a:prstGeom prst="rect">
            <a:avLst/>
          </a:prstGeom>
          <a:solidFill>
            <a:srgbClr val="EEF7C1"/>
          </a:solidFill>
          <a:ln w="9525">
            <a:solidFill>
              <a:schemeClr val="tx1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r>
              <a:rPr lang="en-GB" sz="2000" dirty="0">
                <a:latin typeface="Aptos Mono" panose="020B0009020202020204" pitchFamily="49" charset="0"/>
              </a:rPr>
              <a:t>…</a:t>
            </a:r>
            <a:endParaRPr lang="da-DK" sz="2000" dirty="0">
              <a:latin typeface="Aptos Mono" panose="020B0009020202020204" pitchFamily="49" charset="0"/>
            </a:endParaRP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11388AE8-3F09-E086-83EF-72CB9F6165A3}"/>
              </a:ext>
            </a:extLst>
          </p:cNvPr>
          <p:cNvCxnSpPr>
            <a:stCxn id="15" idx="3"/>
            <a:endCxn id="22" idx="1"/>
          </p:cNvCxnSpPr>
          <p:nvPr/>
        </p:nvCxnSpPr>
        <p:spPr>
          <a:xfrm>
            <a:off x="5428703" y="2599506"/>
            <a:ext cx="1334595" cy="1734733"/>
          </a:xfrm>
          <a:prstGeom prst="bentConnector3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9D0BE1C-3D4A-8673-A398-1B7C145CCBDA}"/>
              </a:ext>
            </a:extLst>
          </p:cNvPr>
          <p:cNvSpPr txBox="1"/>
          <p:nvPr/>
        </p:nvSpPr>
        <p:spPr>
          <a:xfrm>
            <a:off x="6763298" y="4534294"/>
            <a:ext cx="4884982" cy="400110"/>
          </a:xfrm>
          <a:prstGeom prst="rect">
            <a:avLst/>
          </a:prstGeom>
          <a:solidFill>
            <a:srgbClr val="EEF7C1"/>
          </a:solidFill>
          <a:ln w="9525">
            <a:solidFill>
              <a:schemeClr val="tx1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r>
              <a:rPr lang="en-GB" sz="2000" dirty="0">
                <a:latin typeface="Aptos Mono" panose="020B0009020202020204" pitchFamily="49" charset="0"/>
              </a:rPr>
              <a:t>Libraries provided by compiler</a:t>
            </a:r>
            <a:endParaRPr lang="da-DK" sz="2000" dirty="0">
              <a:latin typeface="Aptos Mono" panose="020B0009020202020204" pitchFamily="49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B82EAE8-C543-719A-CF15-A09B9CF74C2C}"/>
              </a:ext>
            </a:extLst>
          </p:cNvPr>
          <p:cNvSpPr txBox="1"/>
          <p:nvPr/>
        </p:nvSpPr>
        <p:spPr>
          <a:xfrm>
            <a:off x="6763298" y="4920627"/>
            <a:ext cx="4884982" cy="707886"/>
          </a:xfrm>
          <a:prstGeom prst="rect">
            <a:avLst/>
          </a:prstGeom>
          <a:solidFill>
            <a:srgbClr val="EEF7C1"/>
          </a:solidFill>
          <a:ln w="9525">
            <a:solidFill>
              <a:schemeClr val="tx1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effectLst/>
                <a:latin typeface="Aptos Mono" panose="020B0009020202020204" pitchFamily="49" charset="0"/>
              </a:rPr>
              <a:t>Libraries provided by chip vendor</a:t>
            </a:r>
            <a:endParaRPr lang="da-DK" sz="2000" dirty="0">
              <a:latin typeface="Aptos Mono" panose="020B0009020202020204" pitchFamily="49" charset="0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019840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5D7B6-27BC-B29F-CF91-FA4AEEBEF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710DE3D8-DFD8-28A8-D5CF-C87DEE04B8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nking - Regions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3CB8D956-DC58-148F-AEDA-64C54A5D1302}"/>
              </a:ext>
            </a:extLst>
          </p:cNvPr>
          <p:cNvSpPr>
            <a:spLocks noGrp="1"/>
          </p:cNvSpPr>
          <p:nvPr>
            <p:ph type="subTitle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71A4E2D1-2007-E341-F1C7-4D89525E8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236" y="2806348"/>
            <a:ext cx="6010271" cy="4283928"/>
          </a:xfrm>
        </p:spPr>
        <p:txBody>
          <a:bodyPr/>
          <a:lstStyle/>
          <a:p>
            <a:pPr lvl="1"/>
            <a:r>
              <a:rPr lang="en-US" sz="2000" dirty="0"/>
              <a:t>.TEXT: Compiled machine instructions</a:t>
            </a:r>
          </a:p>
          <a:p>
            <a:pPr lvl="1"/>
            <a:r>
              <a:rPr lang="en-US" sz="2000" dirty="0"/>
              <a:t>.CONST Read-only</a:t>
            </a:r>
          </a:p>
          <a:p>
            <a:pPr lvl="1"/>
            <a:r>
              <a:rPr lang="en-US" sz="2000" dirty="0"/>
              <a:t>.BSS: Global &amp; static variables</a:t>
            </a:r>
          </a:p>
          <a:p>
            <a:pPr lvl="1"/>
            <a:r>
              <a:rPr lang="en-US" sz="2000" dirty="0"/>
              <a:t>.DATA: Global &amp; static variables</a:t>
            </a:r>
          </a:p>
          <a:p>
            <a:pPr lvl="1"/>
            <a:r>
              <a:rPr lang="en-US" sz="2000" dirty="0"/>
              <a:t>.HEAP: Dynamically allocated memory</a:t>
            </a:r>
          </a:p>
          <a:p>
            <a:pPr lvl="1"/>
            <a:r>
              <a:rPr lang="en-US" sz="2000" dirty="0"/>
              <a:t>.STACK: Function calls, local variables</a:t>
            </a:r>
          </a:p>
          <a:p>
            <a:pPr lvl="1"/>
            <a:endParaRPr lang="en-GB" sz="20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5F58BD-220D-BAC9-AB44-DBAC03C69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40F0C0-1233-490B-CC27-331DD8E98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D9CA4-276E-1328-A180-D08F0C6C8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1</a:t>
            </a:fld>
            <a:endParaRPr lang="en-GB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B30A4BD-7664-6CE6-908C-2968DD5AB83E}"/>
              </a:ext>
            </a:extLst>
          </p:cNvPr>
          <p:cNvGrpSpPr/>
          <p:nvPr/>
        </p:nvGrpSpPr>
        <p:grpSpPr>
          <a:xfrm>
            <a:off x="6179577" y="1157514"/>
            <a:ext cx="7056106" cy="4946041"/>
            <a:chOff x="5481485" y="1187010"/>
            <a:chExt cx="7056106" cy="4946041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827B5680-BE77-6A56-49DD-7D7DB4BD8436}"/>
                </a:ext>
              </a:extLst>
            </p:cNvPr>
            <p:cNvGrpSpPr/>
            <p:nvPr/>
          </p:nvGrpSpPr>
          <p:grpSpPr>
            <a:xfrm>
              <a:off x="5481485" y="1187010"/>
              <a:ext cx="5176682" cy="4946041"/>
              <a:chOff x="5530645" y="1187010"/>
              <a:chExt cx="5176682" cy="4946041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3D8C81EF-E7FC-0012-B011-078F28EABC5F}"/>
                  </a:ext>
                </a:extLst>
              </p:cNvPr>
              <p:cNvSpPr/>
              <p:nvPr/>
            </p:nvSpPr>
            <p:spPr>
              <a:xfrm>
                <a:off x="6788708" y="5576804"/>
                <a:ext cx="3343333" cy="43313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r>
                  <a:rPr lang="en-GB" sz="1600" noProof="0" dirty="0"/>
                  <a:t>.STACK</a:t>
                </a:r>
                <a:endParaRPr lang="da-DK" sz="1600" noProof="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9159435-DF45-B422-9186-C5DCF9F3723A}"/>
                  </a:ext>
                </a:extLst>
              </p:cNvPr>
              <p:cNvSpPr/>
              <p:nvPr/>
            </p:nvSpPr>
            <p:spPr>
              <a:xfrm>
                <a:off x="6788707" y="4146693"/>
                <a:ext cx="3343333" cy="43313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r>
                  <a:rPr lang="en-GB" sz="1600" noProof="0" dirty="0"/>
                  <a:t>.HEAP</a:t>
                </a:r>
                <a:endParaRPr lang="da-DK" sz="1600" noProof="0" dirty="0" err="1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723A43D9-41A7-E422-49F4-C36F04D0DD19}"/>
                  </a:ext>
                </a:extLst>
              </p:cNvPr>
              <p:cNvSpPr/>
              <p:nvPr/>
            </p:nvSpPr>
            <p:spPr>
              <a:xfrm>
                <a:off x="6788706" y="4579830"/>
                <a:ext cx="3343333" cy="99697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endParaRPr lang="da-DK" sz="1600" noProof="0" dirty="0" err="1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4E196CD7-40E4-786E-ACCA-6B930A31FBCC}"/>
                  </a:ext>
                </a:extLst>
              </p:cNvPr>
              <p:cNvSpPr/>
              <p:nvPr/>
            </p:nvSpPr>
            <p:spPr>
              <a:xfrm>
                <a:off x="6788706" y="3713556"/>
                <a:ext cx="3343333" cy="433137"/>
              </a:xfrm>
              <a:prstGeom prst="rect">
                <a:avLst/>
              </a:prstGeom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r>
                  <a:rPr lang="en-GB" sz="1600" noProof="0" dirty="0"/>
                  <a:t>.DATA</a:t>
                </a:r>
                <a:endParaRPr lang="da-DK" sz="1600" noProof="0" dirty="0" err="1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32BD4B99-0702-C583-A253-0436CD8B9C5A}"/>
                  </a:ext>
                </a:extLst>
              </p:cNvPr>
              <p:cNvSpPr/>
              <p:nvPr/>
            </p:nvSpPr>
            <p:spPr>
              <a:xfrm>
                <a:off x="6788705" y="3289696"/>
                <a:ext cx="3343333" cy="433137"/>
              </a:xfrm>
              <a:prstGeom prst="rect">
                <a:avLst/>
              </a:prstGeom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r>
                  <a:rPr lang="en-GB" sz="1600" noProof="0" dirty="0"/>
                  <a:t>.BSS</a:t>
                </a:r>
                <a:endParaRPr lang="da-DK" sz="1600" noProof="0" dirty="0" err="1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D5A7FFF-9920-3547-CE80-A24470DC3E59}"/>
                  </a:ext>
                </a:extLst>
              </p:cNvPr>
              <p:cNvSpPr/>
              <p:nvPr/>
            </p:nvSpPr>
            <p:spPr>
              <a:xfrm>
                <a:off x="6788705" y="2856559"/>
                <a:ext cx="3343333" cy="433137"/>
              </a:xfrm>
              <a:prstGeom prst="rect">
                <a:avLst/>
              </a:prstGeom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r>
                  <a:rPr lang="en-GB" sz="1600" noProof="0" dirty="0"/>
                  <a:t>.CONST</a:t>
                </a:r>
                <a:endParaRPr lang="da-DK" sz="1600" noProof="0" dirty="0" err="1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9852ADE-3B6C-441C-E865-9C8B69D7E718}"/>
                  </a:ext>
                </a:extLst>
              </p:cNvPr>
              <p:cNvSpPr/>
              <p:nvPr/>
            </p:nvSpPr>
            <p:spPr>
              <a:xfrm>
                <a:off x="6788704" y="1573646"/>
                <a:ext cx="3343333" cy="1292189"/>
              </a:xfrm>
              <a:prstGeom prst="rect">
                <a:avLst/>
              </a:prstGeom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r>
                  <a:rPr lang="en-GB" sz="1600" noProof="0" dirty="0"/>
                  <a:t>.TEXT</a:t>
                </a:r>
                <a:endParaRPr lang="da-DK" sz="1600" noProof="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A95F3092-EF52-7853-DB34-57B3244C7379}"/>
                  </a:ext>
                </a:extLst>
              </p:cNvPr>
              <p:cNvSpPr/>
              <p:nvPr/>
            </p:nvSpPr>
            <p:spPr>
              <a:xfrm>
                <a:off x="6788703" y="1566425"/>
                <a:ext cx="3343333" cy="4443516"/>
              </a:xfrm>
              <a:prstGeom prst="rect">
                <a:avLst/>
              </a:prstGeom>
              <a:noFill/>
              <a:ln w="28575"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r>
                  <a:rPr lang="en-GB" sz="1600" noProof="0" dirty="0"/>
                  <a:t>.</a:t>
                </a:r>
                <a:endParaRPr lang="da-DK" sz="1600" noProof="0" dirty="0" err="1"/>
              </a:p>
            </p:txBody>
          </p: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0709AFB0-B7B6-594C-E047-A2C47F9ABF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88703" y="4562170"/>
                <a:ext cx="3343333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E979B472-D32B-CE06-47B1-42D6A8F020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3959" y="5599474"/>
                <a:ext cx="3343333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D9EB9805-5220-A028-D7B7-6BB0513D2137}"/>
                  </a:ext>
                </a:extLst>
              </p:cNvPr>
              <p:cNvCxnSpPr/>
              <p:nvPr/>
            </p:nvCxnSpPr>
            <p:spPr>
              <a:xfrm>
                <a:off x="8485239" y="4562170"/>
                <a:ext cx="0" cy="31767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E77C48EF-C31C-6B3E-A751-B20D2D7DBA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90151" y="5230764"/>
                <a:ext cx="0" cy="378544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DEC89F5B-A64C-31BB-C55E-1280D02FC329}"/>
                  </a:ext>
                </a:extLst>
              </p:cNvPr>
              <p:cNvSpPr txBox="1"/>
              <p:nvPr/>
            </p:nvSpPr>
            <p:spPr>
              <a:xfrm>
                <a:off x="6788704" y="1187010"/>
                <a:ext cx="3343332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GB" sz="2000" dirty="0"/>
                  <a:t>Memory space</a:t>
                </a:r>
                <a:endParaRPr lang="da-DK" sz="2000" dirty="0" err="1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88CBCD87-3409-6DF1-83D0-C019A8EB86B4}"/>
                  </a:ext>
                </a:extLst>
              </p:cNvPr>
              <p:cNvSpPr txBox="1"/>
              <p:nvPr/>
            </p:nvSpPr>
            <p:spPr>
              <a:xfrm>
                <a:off x="5530645" y="1450535"/>
                <a:ext cx="113071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GB" sz="1600" dirty="0">
                    <a:latin typeface="Aptos Mono" panose="020B0009020202020204" pitchFamily="49" charset="0"/>
                  </a:rPr>
                  <a:t>0xFFDF</a:t>
                </a:r>
                <a:endParaRPr lang="da-DK" sz="1600" dirty="0" err="1">
                  <a:latin typeface="Aptos Mono" panose="020B0009020202020204" pitchFamily="49" charset="0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7E243056-8491-2114-CC1C-2A364EDEEAC4}"/>
                  </a:ext>
                </a:extLst>
              </p:cNvPr>
              <p:cNvSpPr txBox="1"/>
              <p:nvPr/>
            </p:nvSpPr>
            <p:spPr>
              <a:xfrm>
                <a:off x="5530645" y="3599722"/>
                <a:ext cx="113071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GB" sz="1600" dirty="0">
                    <a:latin typeface="Aptos Mono" panose="020B0009020202020204" pitchFamily="49" charset="0"/>
                  </a:rPr>
                  <a:t>0xC000</a:t>
                </a:r>
                <a:endParaRPr lang="da-DK" sz="1600" dirty="0" err="1">
                  <a:latin typeface="Aptos Mono" panose="020B0009020202020204" pitchFamily="49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54AF756-7950-A5DD-112F-B6B238CE03E2}"/>
                  </a:ext>
                </a:extLst>
              </p:cNvPr>
              <p:cNvSpPr txBox="1"/>
              <p:nvPr/>
            </p:nvSpPr>
            <p:spPr>
              <a:xfrm>
                <a:off x="5530645" y="5886830"/>
                <a:ext cx="113071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GB" sz="1600" dirty="0">
                    <a:latin typeface="Aptos Mono" panose="020B0009020202020204" pitchFamily="49" charset="0"/>
                  </a:rPr>
                  <a:t>0x0200</a:t>
                </a:r>
                <a:endParaRPr lang="da-DK" sz="1600" dirty="0" err="1">
                  <a:latin typeface="Aptos Mono" panose="020B0009020202020204" pitchFamily="49" charset="0"/>
                </a:endParaRPr>
              </a:p>
            </p:txBody>
          </p:sp>
          <p:sp>
            <p:nvSpPr>
              <p:cNvPr id="35" name="Right Brace 34">
                <a:extLst>
                  <a:ext uri="{FF2B5EF4-FFF2-40B4-BE49-F238E27FC236}">
                    <a16:creationId xmlns:a16="http://schemas.microsoft.com/office/drawing/2014/main" id="{3E6488B8-E74F-5C73-F071-486AF4B16051}"/>
                  </a:ext>
                </a:extLst>
              </p:cNvPr>
              <p:cNvSpPr/>
              <p:nvPr/>
            </p:nvSpPr>
            <p:spPr>
              <a:xfrm>
                <a:off x="10297394" y="1573646"/>
                <a:ext cx="409933" cy="1716050"/>
              </a:xfrm>
              <a:prstGeom prst="rightBrac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6" name="Right Brace 35">
                <a:extLst>
                  <a:ext uri="{FF2B5EF4-FFF2-40B4-BE49-F238E27FC236}">
                    <a16:creationId xmlns:a16="http://schemas.microsoft.com/office/drawing/2014/main" id="{21DDDDBF-835D-D2E8-FF8F-48C5A3150ACA}"/>
                  </a:ext>
                </a:extLst>
              </p:cNvPr>
              <p:cNvSpPr/>
              <p:nvPr/>
            </p:nvSpPr>
            <p:spPr>
              <a:xfrm>
                <a:off x="10293159" y="3289696"/>
                <a:ext cx="409933" cy="2720245"/>
              </a:xfrm>
              <a:prstGeom prst="rightBrac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92E1681-5561-3C20-DECC-25C7481E7528}"/>
                </a:ext>
              </a:extLst>
            </p:cNvPr>
            <p:cNvSpPr txBox="1"/>
            <p:nvPr/>
          </p:nvSpPr>
          <p:spPr>
            <a:xfrm>
              <a:off x="10841050" y="2302285"/>
              <a:ext cx="169654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600" dirty="0"/>
                <a:t>Flash</a:t>
              </a:r>
              <a:endParaRPr lang="da-DK" sz="1600" dirty="0" err="1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45B76A7-4E17-225C-8019-971301754F5F}"/>
                </a:ext>
              </a:extLst>
            </p:cNvPr>
            <p:cNvSpPr txBox="1"/>
            <p:nvPr/>
          </p:nvSpPr>
          <p:spPr>
            <a:xfrm>
              <a:off x="10841049" y="4526707"/>
              <a:ext cx="169654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600" dirty="0"/>
                <a:t>RAM</a:t>
              </a:r>
              <a:endParaRPr lang="da-DK" sz="1600" dirty="0" err="1"/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8142256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AB507-277A-8F02-AE03-DF95F61ECE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7C6C2BFE-6A70-BF89-D96C-D987F10B8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nking - Region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9F0C9B-9FAA-BB38-7AED-5E64414A1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A9DEB6-47AE-FCF3-8A96-FEE43E15D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85948E-B2A7-7F78-05A2-307130F5D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7E7708-D6AB-B004-A285-C61245DB2DD5}"/>
              </a:ext>
            </a:extLst>
          </p:cNvPr>
          <p:cNvSpPr txBox="1"/>
          <p:nvPr/>
        </p:nvSpPr>
        <p:spPr>
          <a:xfrm>
            <a:off x="4082541" y="181957"/>
            <a:ext cx="10403926" cy="6494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600" dirty="0">
                <a:latin typeface="Aptos Mono" panose="020B0009020202020204" pitchFamily="49" charset="0"/>
              </a:rPr>
              <a:t>MEMORY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{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FLASH (</a:t>
            </a:r>
            <a:r>
              <a:rPr lang="da-DK" sz="1600" dirty="0" err="1">
                <a:latin typeface="Aptos Mono" panose="020B0009020202020204" pitchFamily="49" charset="0"/>
              </a:rPr>
              <a:t>rx</a:t>
            </a:r>
            <a:r>
              <a:rPr lang="da-DK" sz="1600" dirty="0">
                <a:latin typeface="Aptos Mono" panose="020B0009020202020204" pitchFamily="49" charset="0"/>
              </a:rPr>
              <a:t>)  : ORIGIN = 0x08000000, LENGTH = 256K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RAM   (</a:t>
            </a:r>
            <a:r>
              <a:rPr lang="da-DK" sz="1600" dirty="0" err="1">
                <a:latin typeface="Aptos Mono" panose="020B0009020202020204" pitchFamily="49" charset="0"/>
              </a:rPr>
              <a:t>rwx</a:t>
            </a:r>
            <a:r>
              <a:rPr lang="da-DK" sz="1600" dirty="0">
                <a:latin typeface="Aptos Mono" panose="020B0009020202020204" pitchFamily="49" charset="0"/>
              </a:rPr>
              <a:t>) : ORIGIN = 0x20000000, LENGTH = 64K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}</a:t>
            </a:r>
          </a:p>
          <a:p>
            <a:endParaRPr lang="da-DK" sz="1600" dirty="0">
              <a:latin typeface="Aptos Mono" panose="020B0009020202020204" pitchFamily="49" charset="0"/>
            </a:endParaRPr>
          </a:p>
          <a:p>
            <a:r>
              <a:rPr lang="da-DK" sz="1600" dirty="0">
                <a:latin typeface="Aptos Mono" panose="020B0009020202020204" pitchFamily="49" charset="0"/>
              </a:rPr>
              <a:t>SECTIONS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{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.</a:t>
            </a:r>
            <a:r>
              <a:rPr lang="da-DK" sz="1600" dirty="0" err="1">
                <a:latin typeface="Aptos Mono" panose="020B0009020202020204" pitchFamily="49" charset="0"/>
              </a:rPr>
              <a:t>text</a:t>
            </a:r>
            <a:r>
              <a:rPr lang="da-DK" sz="1600" dirty="0">
                <a:latin typeface="Aptos Mono" panose="020B0009020202020204" pitchFamily="49" charset="0"/>
              </a:rPr>
              <a:t> :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{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  KEEP(*(.</a:t>
            </a:r>
            <a:r>
              <a:rPr lang="da-DK" sz="1600" dirty="0" err="1">
                <a:latin typeface="Aptos Mono" panose="020B0009020202020204" pitchFamily="49" charset="0"/>
              </a:rPr>
              <a:t>isr_vector</a:t>
            </a:r>
            <a:r>
              <a:rPr lang="da-DK" sz="1600" dirty="0">
                <a:latin typeface="Aptos Mono" panose="020B0009020202020204" pitchFamily="49" charset="0"/>
              </a:rPr>
              <a:t>))     /* </a:t>
            </a:r>
            <a:r>
              <a:rPr lang="da-DK" sz="1600" dirty="0" err="1">
                <a:latin typeface="Aptos Mono" panose="020B0009020202020204" pitchFamily="49" charset="0"/>
              </a:rPr>
              <a:t>Interrupt</a:t>
            </a:r>
            <a:r>
              <a:rPr lang="da-DK" sz="1600" dirty="0">
                <a:latin typeface="Aptos Mono" panose="020B0009020202020204" pitchFamily="49" charset="0"/>
              </a:rPr>
              <a:t> </a:t>
            </a:r>
            <a:r>
              <a:rPr lang="da-DK" sz="1600" dirty="0" err="1">
                <a:latin typeface="Aptos Mono" panose="020B0009020202020204" pitchFamily="49" charset="0"/>
              </a:rPr>
              <a:t>table</a:t>
            </a:r>
            <a:r>
              <a:rPr lang="da-DK" sz="1600" dirty="0">
                <a:latin typeface="Aptos Mono" panose="020B0009020202020204" pitchFamily="49" charset="0"/>
              </a:rPr>
              <a:t> */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  *(.</a:t>
            </a:r>
            <a:r>
              <a:rPr lang="da-DK" sz="1600" dirty="0" err="1">
                <a:latin typeface="Aptos Mono" panose="020B0009020202020204" pitchFamily="49" charset="0"/>
              </a:rPr>
              <a:t>text</a:t>
            </a:r>
            <a:r>
              <a:rPr lang="da-DK" sz="1600" dirty="0">
                <a:latin typeface="Aptos Mono" panose="020B0009020202020204" pitchFamily="49" charset="0"/>
              </a:rPr>
              <a:t>*)                /* Code */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  *(.</a:t>
            </a:r>
            <a:r>
              <a:rPr lang="da-DK" sz="1600" dirty="0" err="1">
                <a:latin typeface="Aptos Mono" panose="020B0009020202020204" pitchFamily="49" charset="0"/>
              </a:rPr>
              <a:t>rodata</a:t>
            </a:r>
            <a:r>
              <a:rPr lang="da-DK" sz="1600" dirty="0">
                <a:latin typeface="Aptos Mono" panose="020B0009020202020204" pitchFamily="49" charset="0"/>
              </a:rPr>
              <a:t>*)              /* Constants */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} &gt; FLASH</a:t>
            </a:r>
          </a:p>
          <a:p>
            <a:endParaRPr lang="da-DK" sz="1600" dirty="0">
              <a:latin typeface="Aptos Mono" panose="020B0009020202020204" pitchFamily="49" charset="0"/>
            </a:endParaRPr>
          </a:p>
          <a:p>
            <a:r>
              <a:rPr lang="da-DK" sz="1600" dirty="0">
                <a:latin typeface="Aptos Mono" panose="020B0009020202020204" pitchFamily="49" charset="0"/>
              </a:rPr>
              <a:t>  .data :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{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  *(.data*)                /* </a:t>
            </a:r>
            <a:r>
              <a:rPr lang="da-DK" sz="1600" dirty="0" err="1">
                <a:latin typeface="Aptos Mono" panose="020B0009020202020204" pitchFamily="49" charset="0"/>
              </a:rPr>
              <a:t>Initialized</a:t>
            </a:r>
            <a:r>
              <a:rPr lang="da-DK" sz="1600" dirty="0">
                <a:latin typeface="Aptos Mono" panose="020B0009020202020204" pitchFamily="49" charset="0"/>
              </a:rPr>
              <a:t> </a:t>
            </a:r>
            <a:r>
              <a:rPr lang="da-DK" sz="1600" dirty="0" err="1">
                <a:latin typeface="Aptos Mono" panose="020B0009020202020204" pitchFamily="49" charset="0"/>
              </a:rPr>
              <a:t>globals</a:t>
            </a:r>
            <a:r>
              <a:rPr lang="da-DK" sz="1600" dirty="0">
                <a:latin typeface="Aptos Mono" panose="020B0009020202020204" pitchFamily="49" charset="0"/>
              </a:rPr>
              <a:t> */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} &gt; RAM AT &gt; FLASH         /* Load in Flash, </a:t>
            </a:r>
            <a:r>
              <a:rPr lang="da-DK" sz="1600" dirty="0" err="1">
                <a:latin typeface="Aptos Mono" panose="020B0009020202020204" pitchFamily="49" charset="0"/>
              </a:rPr>
              <a:t>copy</a:t>
            </a:r>
            <a:r>
              <a:rPr lang="da-DK" sz="1600" dirty="0">
                <a:latin typeface="Aptos Mono" panose="020B0009020202020204" pitchFamily="49" charset="0"/>
              </a:rPr>
              <a:t> to RAM */</a:t>
            </a:r>
          </a:p>
          <a:p>
            <a:endParaRPr lang="da-DK" sz="1600" dirty="0">
              <a:latin typeface="Aptos Mono" panose="020B0009020202020204" pitchFamily="49" charset="0"/>
            </a:endParaRPr>
          </a:p>
          <a:p>
            <a:r>
              <a:rPr lang="da-DK" sz="1600" dirty="0">
                <a:latin typeface="Aptos Mono" panose="020B0009020202020204" pitchFamily="49" charset="0"/>
              </a:rPr>
              <a:t>  .</a:t>
            </a:r>
            <a:r>
              <a:rPr lang="da-DK" sz="1600" dirty="0" err="1">
                <a:latin typeface="Aptos Mono" panose="020B0009020202020204" pitchFamily="49" charset="0"/>
              </a:rPr>
              <a:t>bss</a:t>
            </a:r>
            <a:r>
              <a:rPr lang="da-DK" sz="1600" dirty="0">
                <a:latin typeface="Aptos Mono" panose="020B0009020202020204" pitchFamily="49" charset="0"/>
              </a:rPr>
              <a:t> :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{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  *(.</a:t>
            </a:r>
            <a:r>
              <a:rPr lang="da-DK" sz="1600" dirty="0" err="1">
                <a:latin typeface="Aptos Mono" panose="020B0009020202020204" pitchFamily="49" charset="0"/>
              </a:rPr>
              <a:t>bss</a:t>
            </a:r>
            <a:r>
              <a:rPr lang="da-DK" sz="1600" dirty="0">
                <a:latin typeface="Aptos Mono" panose="020B0009020202020204" pitchFamily="49" charset="0"/>
              </a:rPr>
              <a:t>*)                 /* Zero-</a:t>
            </a:r>
            <a:r>
              <a:rPr lang="da-DK" sz="1600" dirty="0" err="1">
                <a:latin typeface="Aptos Mono" panose="020B0009020202020204" pitchFamily="49" charset="0"/>
              </a:rPr>
              <a:t>initialized</a:t>
            </a:r>
            <a:r>
              <a:rPr lang="da-DK" sz="1600" dirty="0">
                <a:latin typeface="Aptos Mono" panose="020B0009020202020204" pitchFamily="49" charset="0"/>
              </a:rPr>
              <a:t> data */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  *(COMMON)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  } &gt; RAM</a:t>
            </a:r>
          </a:p>
          <a:p>
            <a:r>
              <a:rPr lang="da-DK" sz="1600" dirty="0">
                <a:latin typeface="Aptos Mono" panose="020B0009020202020204" pitchFamily="49" charset="0"/>
              </a:rPr>
              <a:t>}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027599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83EBFC-5C40-7BD5-1A28-BD17A6E154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1C169647-8A9A-1F1A-255D-C1C32AF46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nking – Common Error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BB5E9B-4EE8-2FE1-9356-42ABCAFB5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932A10-E03A-2016-7798-4B5142725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5C9C7-6EE3-689B-FDAD-842EBBABD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3</a:t>
            </a:fld>
            <a:endParaRPr lang="en-GB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E1718EC-BB4A-3CEF-5BD2-DFC7630C9B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1056885"/>
              </p:ext>
            </p:extLst>
          </p:nvPr>
        </p:nvGraphicFramePr>
        <p:xfrm>
          <a:off x="374133" y="1376081"/>
          <a:ext cx="10466917" cy="506960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52546">
                  <a:extLst>
                    <a:ext uri="{9D8B030D-6E8A-4147-A177-3AD203B41FA5}">
                      <a16:colId xmlns:a16="http://schemas.microsoft.com/office/drawing/2014/main" val="2439444052"/>
                    </a:ext>
                  </a:extLst>
                </a:gridCol>
                <a:gridCol w="7714371">
                  <a:extLst>
                    <a:ext uri="{9D8B030D-6E8A-4147-A177-3AD203B41FA5}">
                      <a16:colId xmlns:a16="http://schemas.microsoft.com/office/drawing/2014/main" val="3335687305"/>
                    </a:ext>
                  </a:extLst>
                </a:gridCol>
              </a:tblGrid>
              <a:tr h="9548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Aptos Mono" panose="020B0009020202020204" pitchFamily="49" charset="0"/>
                        </a:rPr>
                        <a:t>region FLASH overflowed by 1024 by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Your program is simply too large. Buy a larger chip, cut features or cut down on huge libraries as </a:t>
                      </a:r>
                      <a:r>
                        <a:rPr lang="en-GB" dirty="0" err="1"/>
                        <a:t>stdlib</a:t>
                      </a:r>
                      <a:r>
                        <a:rPr lang="en-GB" dirty="0"/>
                        <a:t> or language features like RTTI, exceptions and the standard library.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3323785"/>
                  </a:ext>
                </a:extLst>
              </a:tr>
              <a:tr h="8382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Aptos Mono" panose="020B0009020202020204" pitchFamily="49" charset="0"/>
                        </a:rPr>
                        <a:t>section .</a:t>
                      </a:r>
                      <a:r>
                        <a:rPr lang="en-US" sz="1800" dirty="0" err="1">
                          <a:latin typeface="Aptos Mono" panose="020B0009020202020204" pitchFamily="49" charset="0"/>
                        </a:rPr>
                        <a:t>bss</a:t>
                      </a:r>
                      <a:r>
                        <a:rPr lang="en-US" sz="1800" dirty="0">
                          <a:latin typeface="Aptos Mono" panose="020B0009020202020204" pitchFamily="49" charset="0"/>
                        </a:rPr>
                        <a:t> will not fit in region RAM</a:t>
                      </a:r>
                    </a:p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dify your linker script to have .</a:t>
                      </a:r>
                      <a:r>
                        <a:rPr lang="en-GB" dirty="0" err="1"/>
                        <a:t>bss</a:t>
                      </a:r>
                      <a:r>
                        <a:rPr lang="en-GB" dirty="0"/>
                        <a:t> fit into RAM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4454897"/>
                  </a:ext>
                </a:extLst>
              </a:tr>
              <a:tr h="9292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Aptos Mono" panose="020B0009020202020204" pitchFamily="49" charset="0"/>
                        </a:rPr>
                        <a:t>multiple definition of _foo</a:t>
                      </a:r>
                    </a:p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808000"/>
                          </a:solidFill>
                          <a:effectLst/>
                          <a:latin typeface="Aptos Mono" panose="020B0009020202020204" pitchFamily="49" charset="0"/>
                        </a:rPr>
                        <a:t>int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677C"/>
                          </a:solidFill>
                          <a:effectLst/>
                          <a:latin typeface="Aptos Mono" panose="020B0009020202020204" pitchFamily="49" charset="0"/>
                        </a:rPr>
                        <a:t>foo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(</a:t>
                      </a:r>
                      <a:r>
                        <a:rPr kumimoji="0" lang="da-DK" altLang="da-DK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808000"/>
                          </a:solidFill>
                          <a:effectLst/>
                          <a:latin typeface="Aptos Mono" panose="020B0009020202020204" pitchFamily="49" charset="0"/>
                        </a:rPr>
                        <a:t>int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92E64"/>
                          </a:solidFill>
                          <a:effectLst/>
                          <a:latin typeface="Aptos Mono" panose="020B0009020202020204" pitchFamily="49" charset="0"/>
                        </a:rPr>
                        <a:t>a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,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808000"/>
                          </a:solidFill>
                          <a:effectLst/>
                          <a:latin typeface="Aptos Mono" panose="020B0009020202020204" pitchFamily="49" charset="0"/>
                        </a:rPr>
                        <a:t>int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92E64"/>
                          </a:solidFill>
                          <a:effectLst/>
                          <a:latin typeface="Aptos Mono" panose="020B0009020202020204" pitchFamily="49" charset="0"/>
                        </a:rPr>
                        <a:t>b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)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{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808000"/>
                          </a:solidFill>
                          <a:effectLst/>
                          <a:latin typeface="Aptos Mono" panose="020B0009020202020204" pitchFamily="49" charset="0"/>
                        </a:rPr>
                        <a:t>   return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92E64"/>
                          </a:solidFill>
                          <a:effectLst/>
                          <a:latin typeface="Aptos Mono" panose="020B0009020202020204" pitchFamily="49" charset="0"/>
                        </a:rPr>
                        <a:t>a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+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92E64"/>
                          </a:solidFill>
                          <a:effectLst/>
                          <a:latin typeface="Aptos Mono" panose="020B0009020202020204" pitchFamily="49" charset="0"/>
                        </a:rPr>
                        <a:t>b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;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}</a:t>
                      </a:r>
                    </a:p>
                    <a:p>
                      <a:r>
                        <a:rPr lang="da-DK" dirty="0" err="1"/>
                        <a:t>Exists</a:t>
                      </a:r>
                      <a:r>
                        <a:rPr lang="da-DK" dirty="0"/>
                        <a:t> in more </a:t>
                      </a:r>
                      <a:r>
                        <a:rPr lang="da-DK" dirty="0" err="1"/>
                        <a:t>than</a:t>
                      </a:r>
                      <a:r>
                        <a:rPr lang="da-DK" dirty="0"/>
                        <a:t> </a:t>
                      </a:r>
                      <a:r>
                        <a:rPr lang="da-DK" dirty="0" err="1"/>
                        <a:t>one</a:t>
                      </a:r>
                      <a:r>
                        <a:rPr lang="da-DK" dirty="0"/>
                        <a:t> file </a:t>
                      </a:r>
                      <a:r>
                        <a:rPr lang="da-DK" dirty="0" err="1"/>
                        <a:t>being</a:t>
                      </a:r>
                      <a:r>
                        <a:rPr lang="da-DK" dirty="0"/>
                        <a:t> </a:t>
                      </a:r>
                      <a:r>
                        <a:rPr lang="da-DK" dirty="0" err="1"/>
                        <a:t>linked</a:t>
                      </a:r>
                      <a:r>
                        <a:rPr lang="da-DK" dirty="0"/>
                        <a:t> i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5038509"/>
                  </a:ext>
                </a:extLst>
              </a:tr>
              <a:tr h="9292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Aptos Mono" panose="020B0009020202020204" pitchFamily="49" charset="0"/>
                        </a:rPr>
                        <a:t>undefined reference to _foo</a:t>
                      </a:r>
                    </a:p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808000"/>
                          </a:solidFill>
                          <a:effectLst/>
                          <a:latin typeface="Aptos Mono" panose="020B0009020202020204" pitchFamily="49" charset="0"/>
                        </a:rPr>
                        <a:t>int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677C"/>
                          </a:solidFill>
                          <a:effectLst/>
                          <a:latin typeface="Aptos Mono" panose="020B0009020202020204" pitchFamily="49" charset="0"/>
                        </a:rPr>
                        <a:t>foo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(</a:t>
                      </a:r>
                      <a:r>
                        <a:rPr kumimoji="0" lang="da-DK" altLang="da-DK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808000"/>
                          </a:solidFill>
                          <a:effectLst/>
                          <a:latin typeface="Aptos Mono" panose="020B0009020202020204" pitchFamily="49" charset="0"/>
                        </a:rPr>
                        <a:t>int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92E64"/>
                          </a:solidFill>
                          <a:effectLst/>
                          <a:latin typeface="Aptos Mono" panose="020B0009020202020204" pitchFamily="49" charset="0"/>
                        </a:rPr>
                        <a:t>a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,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808000"/>
                          </a:solidFill>
                          <a:effectLst/>
                          <a:latin typeface="Aptos Mono" panose="020B0009020202020204" pitchFamily="49" charset="0"/>
                        </a:rPr>
                        <a:t>int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92E64"/>
                          </a:solidFill>
                          <a:effectLst/>
                          <a:latin typeface="Aptos Mono" panose="020B0009020202020204" pitchFamily="49" charset="0"/>
                        </a:rPr>
                        <a:t>b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)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{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808000"/>
                          </a:solidFill>
                          <a:effectLst/>
                          <a:latin typeface="Aptos Mono" panose="020B0009020202020204" pitchFamily="49" charset="0"/>
                        </a:rPr>
                        <a:t>   return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92E64"/>
                          </a:solidFill>
                          <a:effectLst/>
                          <a:latin typeface="Aptos Mono" panose="020B0009020202020204" pitchFamily="49" charset="0"/>
                        </a:rPr>
                        <a:t>a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+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C0C0C0"/>
                          </a:solidFill>
                          <a:effectLst/>
                          <a:latin typeface="Aptos Mono" panose="020B0009020202020204" pitchFamily="49" charset="0"/>
                        </a:rPr>
                        <a:t> 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92E64"/>
                          </a:solidFill>
                          <a:effectLst/>
                          <a:latin typeface="Aptos Mono" panose="020B0009020202020204" pitchFamily="49" charset="0"/>
                        </a:rPr>
                        <a:t>b</a:t>
                      </a: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;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ptos Mono" panose="020B0009020202020204" pitchFamily="49" charset="0"/>
                        </a:rPr>
                        <a:t>}</a:t>
                      </a:r>
                    </a:p>
                    <a:p>
                      <a:r>
                        <a:rPr lang="da-DK" dirty="0" err="1"/>
                        <a:t>Exists</a:t>
                      </a:r>
                      <a:r>
                        <a:rPr lang="da-DK" dirty="0"/>
                        <a:t> in no file </a:t>
                      </a:r>
                      <a:r>
                        <a:rPr lang="da-DK" dirty="0" err="1"/>
                        <a:t>being</a:t>
                      </a:r>
                      <a:r>
                        <a:rPr lang="da-DK" dirty="0"/>
                        <a:t> </a:t>
                      </a:r>
                      <a:r>
                        <a:rPr lang="da-DK" dirty="0" err="1"/>
                        <a:t>linked</a:t>
                      </a:r>
                      <a:r>
                        <a:rPr lang="da-DK" dirty="0"/>
                        <a:t> i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4816799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3306859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EB8D3E-560C-1BAF-0C94-C4FB81E574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6A3C4EF-1766-9F20-5A4A-ABF5C5F48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75" y="554080"/>
            <a:ext cx="11471250" cy="578448"/>
          </a:xfrm>
        </p:spPr>
        <p:txBody>
          <a:bodyPr/>
          <a:lstStyle/>
          <a:p>
            <a:r>
              <a:rPr lang="en-GB" dirty="0"/>
              <a:t>Over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856CEA-9909-96E2-390E-F15327EF4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F58F77-064A-098E-F216-580635EA1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EEFF7F-4554-8B3D-ACFE-A853A1073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AB871A3-F848-3D97-D74A-60D249A8A70F}"/>
              </a:ext>
            </a:extLst>
          </p:cNvPr>
          <p:cNvSpPr/>
          <p:nvPr/>
        </p:nvSpPr>
        <p:spPr>
          <a:xfrm>
            <a:off x="1449115" y="2024186"/>
            <a:ext cx="9170335" cy="644050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Preprocessing</a:t>
            </a:r>
            <a:endParaRPr lang="da-DK" sz="1600" noProof="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A18C78-4253-24EC-448B-4868EBAC9F96}"/>
              </a:ext>
            </a:extLst>
          </p:cNvPr>
          <p:cNvSpPr/>
          <p:nvPr/>
        </p:nvSpPr>
        <p:spPr>
          <a:xfrm>
            <a:off x="1446759" y="1253310"/>
            <a:ext cx="9170335" cy="586128"/>
          </a:xfrm>
          <a:prstGeom prst="rect">
            <a:avLst/>
          </a:prstGeom>
          <a:ln>
            <a:solidFill>
              <a:srgbClr val="79797F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/>
              <a:t>Typing </a:t>
            </a:r>
            <a:r>
              <a:rPr lang="da-DK" sz="1600" dirty="0" err="1"/>
              <a:t>code</a:t>
            </a:r>
            <a:endParaRPr lang="da-DK" sz="1600" noProof="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9C2337-8344-1114-79FE-4E0897C4FC0A}"/>
              </a:ext>
            </a:extLst>
          </p:cNvPr>
          <p:cNvSpPr/>
          <p:nvPr/>
        </p:nvSpPr>
        <p:spPr>
          <a:xfrm>
            <a:off x="1448321" y="2804151"/>
            <a:ext cx="9171129" cy="160184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Compiling</a:t>
            </a:r>
            <a:endParaRPr lang="da-DK" sz="1600" noProof="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230699-E221-535F-327E-44006404245C}"/>
              </a:ext>
            </a:extLst>
          </p:cNvPr>
          <p:cNvSpPr/>
          <p:nvPr/>
        </p:nvSpPr>
        <p:spPr>
          <a:xfrm>
            <a:off x="1449115" y="4528023"/>
            <a:ext cx="9151144" cy="1076667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Linking</a:t>
            </a:r>
            <a:endParaRPr lang="da-DK" sz="16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4EBDDE6-6786-E276-7CB9-E5272E1D1B5D}"/>
              </a:ext>
            </a:extLst>
          </p:cNvPr>
          <p:cNvSpPr/>
          <p:nvPr/>
        </p:nvSpPr>
        <p:spPr>
          <a:xfrm>
            <a:off x="1449115" y="5827003"/>
            <a:ext cx="9151144" cy="712269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Flashing</a:t>
            </a:r>
            <a:endParaRPr lang="da-DK" sz="1600" noProof="0" dirty="0" err="1"/>
          </a:p>
        </p:txBody>
      </p:sp>
      <p:sp>
        <p:nvSpPr>
          <p:cNvPr id="12" name="Scroll: Vertical 11">
            <a:extLst>
              <a:ext uri="{FF2B5EF4-FFF2-40B4-BE49-F238E27FC236}">
                <a16:creationId xmlns:a16="http://schemas.microsoft.com/office/drawing/2014/main" id="{65A0F09E-F272-BA3B-9AAE-DEA3E15F9E71}"/>
              </a:ext>
            </a:extLst>
          </p:cNvPr>
          <p:cNvSpPr/>
          <p:nvPr/>
        </p:nvSpPr>
        <p:spPr>
          <a:xfrm>
            <a:off x="3748468" y="1341531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</a:t>
            </a:r>
            <a:r>
              <a:rPr lang="da-DK" sz="1600" noProof="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15" name="Scroll: Vertical 14">
            <a:extLst>
              <a:ext uri="{FF2B5EF4-FFF2-40B4-BE49-F238E27FC236}">
                <a16:creationId xmlns:a16="http://schemas.microsoft.com/office/drawing/2014/main" id="{22A2CC6D-CFE1-E68B-F3F6-9CB1A9DF356B}"/>
              </a:ext>
            </a:extLst>
          </p:cNvPr>
          <p:cNvSpPr/>
          <p:nvPr/>
        </p:nvSpPr>
        <p:spPr>
          <a:xfrm>
            <a:off x="4882645" y="1349096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0" name="Scroll: Vertical 19">
            <a:extLst>
              <a:ext uri="{FF2B5EF4-FFF2-40B4-BE49-F238E27FC236}">
                <a16:creationId xmlns:a16="http://schemas.microsoft.com/office/drawing/2014/main" id="{24E22F27-55B9-C901-5001-37D42A911330}"/>
              </a:ext>
            </a:extLst>
          </p:cNvPr>
          <p:cNvSpPr/>
          <p:nvPr/>
        </p:nvSpPr>
        <p:spPr>
          <a:xfrm>
            <a:off x="3787049" y="2134516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</a:t>
            </a:r>
            <a:r>
              <a:rPr lang="da-DK" sz="1600" noProof="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1" name="Scroll: Vertical 20">
            <a:extLst>
              <a:ext uri="{FF2B5EF4-FFF2-40B4-BE49-F238E27FC236}">
                <a16:creationId xmlns:a16="http://schemas.microsoft.com/office/drawing/2014/main" id="{CC8CFC38-AB64-31F5-3727-1DAD4DBE3E0F}"/>
              </a:ext>
            </a:extLst>
          </p:cNvPr>
          <p:cNvSpPr/>
          <p:nvPr/>
        </p:nvSpPr>
        <p:spPr>
          <a:xfrm>
            <a:off x="4921226" y="2123878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4" name="Scroll: Vertical 23">
            <a:extLst>
              <a:ext uri="{FF2B5EF4-FFF2-40B4-BE49-F238E27FC236}">
                <a16:creationId xmlns:a16="http://schemas.microsoft.com/office/drawing/2014/main" id="{6E13AAE8-1E12-FBD4-EDFA-DE59B6036FE7}"/>
              </a:ext>
            </a:extLst>
          </p:cNvPr>
          <p:cNvSpPr/>
          <p:nvPr/>
        </p:nvSpPr>
        <p:spPr>
          <a:xfrm>
            <a:off x="3748468" y="2926179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i</a:t>
            </a:r>
          </a:p>
        </p:txBody>
      </p:sp>
      <p:sp>
        <p:nvSpPr>
          <p:cNvPr id="25" name="Scroll: Vertical 24">
            <a:extLst>
              <a:ext uri="{FF2B5EF4-FFF2-40B4-BE49-F238E27FC236}">
                <a16:creationId xmlns:a16="http://schemas.microsoft.com/office/drawing/2014/main" id="{A49ABE78-CFC0-C910-3047-F04B989BAE61}"/>
              </a:ext>
            </a:extLst>
          </p:cNvPr>
          <p:cNvSpPr/>
          <p:nvPr/>
        </p:nvSpPr>
        <p:spPr>
          <a:xfrm>
            <a:off x="4882644" y="2954428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i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8" name="Scroll: Vertical 27">
            <a:extLst>
              <a:ext uri="{FF2B5EF4-FFF2-40B4-BE49-F238E27FC236}">
                <a16:creationId xmlns:a16="http://schemas.microsoft.com/office/drawing/2014/main" id="{9117B7D1-E78D-2AC3-566B-D83051C65DE5}"/>
              </a:ext>
            </a:extLst>
          </p:cNvPr>
          <p:cNvSpPr/>
          <p:nvPr/>
        </p:nvSpPr>
        <p:spPr>
          <a:xfrm>
            <a:off x="3706030" y="4853244"/>
            <a:ext cx="933651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o</a:t>
            </a:r>
          </a:p>
        </p:txBody>
      </p:sp>
      <p:sp>
        <p:nvSpPr>
          <p:cNvPr id="29" name="Scroll: Vertical 28">
            <a:extLst>
              <a:ext uri="{FF2B5EF4-FFF2-40B4-BE49-F238E27FC236}">
                <a16:creationId xmlns:a16="http://schemas.microsoft.com/office/drawing/2014/main" id="{A3F1BE3F-2C45-F037-765E-F65D128A2FF2}"/>
              </a:ext>
            </a:extLst>
          </p:cNvPr>
          <p:cNvSpPr/>
          <p:nvPr/>
        </p:nvSpPr>
        <p:spPr>
          <a:xfrm>
            <a:off x="4840206" y="4849572"/>
            <a:ext cx="933651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o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33" name="Scroll: Vertical 32">
            <a:extLst>
              <a:ext uri="{FF2B5EF4-FFF2-40B4-BE49-F238E27FC236}">
                <a16:creationId xmlns:a16="http://schemas.microsoft.com/office/drawing/2014/main" id="{F1D23BE4-6DA1-9BD2-0BC9-64232C0AB973}"/>
              </a:ext>
            </a:extLst>
          </p:cNvPr>
          <p:cNvSpPr/>
          <p:nvPr/>
        </p:nvSpPr>
        <p:spPr>
          <a:xfrm>
            <a:off x="6009409" y="4851133"/>
            <a:ext cx="1816769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Linker script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C464269-ABDD-A246-0573-FBE3350ED442}"/>
              </a:ext>
            </a:extLst>
          </p:cNvPr>
          <p:cNvGrpSpPr/>
          <p:nvPr/>
        </p:nvGrpSpPr>
        <p:grpSpPr>
          <a:xfrm>
            <a:off x="8322614" y="4697172"/>
            <a:ext cx="2121569" cy="737937"/>
            <a:chOff x="4079975" y="-887980"/>
            <a:chExt cx="2121569" cy="737937"/>
          </a:xfrm>
        </p:grpSpPr>
        <p:sp>
          <p:nvSpPr>
            <p:cNvPr id="34" name="Scroll: Vertical 33">
              <a:extLst>
                <a:ext uri="{FF2B5EF4-FFF2-40B4-BE49-F238E27FC236}">
                  <a16:creationId xmlns:a16="http://schemas.microsoft.com/office/drawing/2014/main" id="{0268EEFC-3268-321E-3A9F-EA1BB738E0E3}"/>
                </a:ext>
              </a:extLst>
            </p:cNvPr>
            <p:cNvSpPr/>
            <p:nvPr/>
          </p:nvSpPr>
          <p:spPr>
            <a:xfrm>
              <a:off x="4079975" y="-8879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  <p:sp>
          <p:nvSpPr>
            <p:cNvPr id="35" name="Scroll: Vertical 34">
              <a:extLst>
                <a:ext uri="{FF2B5EF4-FFF2-40B4-BE49-F238E27FC236}">
                  <a16:creationId xmlns:a16="http://schemas.microsoft.com/office/drawing/2014/main" id="{7446EF07-C850-CB5F-49DB-B58CE9298793}"/>
                </a:ext>
              </a:extLst>
            </p:cNvPr>
            <p:cNvSpPr/>
            <p:nvPr/>
          </p:nvSpPr>
          <p:spPr>
            <a:xfrm>
              <a:off x="4232375" y="-7355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  <p:sp>
          <p:nvSpPr>
            <p:cNvPr id="36" name="Scroll: Vertical 35">
              <a:extLst>
                <a:ext uri="{FF2B5EF4-FFF2-40B4-BE49-F238E27FC236}">
                  <a16:creationId xmlns:a16="http://schemas.microsoft.com/office/drawing/2014/main" id="{827E1CA7-0DFD-09EB-9331-242B5E7409BA}"/>
                </a:ext>
              </a:extLst>
            </p:cNvPr>
            <p:cNvSpPr/>
            <p:nvPr/>
          </p:nvSpPr>
          <p:spPr>
            <a:xfrm>
              <a:off x="4384775" y="-5831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</p:grpSp>
      <p:sp>
        <p:nvSpPr>
          <p:cNvPr id="40" name="Scroll: Vertical 39">
            <a:extLst>
              <a:ext uri="{FF2B5EF4-FFF2-40B4-BE49-F238E27FC236}">
                <a16:creationId xmlns:a16="http://schemas.microsoft.com/office/drawing/2014/main" id="{C2AB0E24-A119-CADE-32A6-D34B32DAE941}"/>
              </a:ext>
            </a:extLst>
          </p:cNvPr>
          <p:cNvSpPr/>
          <p:nvPr/>
        </p:nvSpPr>
        <p:spPr>
          <a:xfrm>
            <a:off x="5526407" y="5966568"/>
            <a:ext cx="1816769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Hexfile</a:t>
            </a:r>
            <a:endParaRPr lang="da-DK" dirty="0">
              <a:solidFill>
                <a:schemeClr val="tx1"/>
              </a:solidFill>
            </a:endParaRPr>
          </a:p>
        </p:txBody>
      </p:sp>
      <p:cxnSp>
        <p:nvCxnSpPr>
          <p:cNvPr id="68" name="Connector: Curved 67">
            <a:extLst>
              <a:ext uri="{FF2B5EF4-FFF2-40B4-BE49-F238E27FC236}">
                <a16:creationId xmlns:a16="http://schemas.microsoft.com/office/drawing/2014/main" id="{8389016E-5897-ED19-F3C9-E3D28FBBB91D}"/>
              </a:ext>
            </a:extLst>
          </p:cNvPr>
          <p:cNvCxnSpPr>
            <a:stCxn id="12" idx="2"/>
            <a:endCxn id="20" idx="0"/>
          </p:cNvCxnSpPr>
          <p:nvPr/>
        </p:nvCxnSpPr>
        <p:spPr>
          <a:xfrm rot="16200000" flipH="1">
            <a:off x="3992931" y="1954591"/>
            <a:ext cx="359848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Connector: Curved 69">
            <a:extLst>
              <a:ext uri="{FF2B5EF4-FFF2-40B4-BE49-F238E27FC236}">
                <a16:creationId xmlns:a16="http://schemas.microsoft.com/office/drawing/2014/main" id="{6149F5E4-F20F-74F7-3CE4-F33E00C1EFAF}"/>
              </a:ext>
            </a:extLst>
          </p:cNvPr>
          <p:cNvCxnSpPr>
            <a:stCxn id="15" idx="2"/>
            <a:endCxn id="21" idx="0"/>
          </p:cNvCxnSpPr>
          <p:nvPr/>
        </p:nvCxnSpPr>
        <p:spPr>
          <a:xfrm rot="16200000" flipH="1">
            <a:off x="5136210" y="1953054"/>
            <a:ext cx="341645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Connector: Curved 71">
            <a:extLst>
              <a:ext uri="{FF2B5EF4-FFF2-40B4-BE49-F238E27FC236}">
                <a16:creationId xmlns:a16="http://schemas.microsoft.com/office/drawing/2014/main" id="{DF52C751-9E76-D87D-C0D3-65B515A501EF}"/>
              </a:ext>
            </a:extLst>
          </p:cNvPr>
          <p:cNvCxnSpPr>
            <a:stCxn id="20" idx="2"/>
            <a:endCxn id="24" idx="0"/>
          </p:cNvCxnSpPr>
          <p:nvPr/>
        </p:nvCxnSpPr>
        <p:spPr>
          <a:xfrm rot="5400000">
            <a:off x="3993593" y="2746916"/>
            <a:ext cx="358526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Connector: Curved 73">
            <a:extLst>
              <a:ext uri="{FF2B5EF4-FFF2-40B4-BE49-F238E27FC236}">
                <a16:creationId xmlns:a16="http://schemas.microsoft.com/office/drawing/2014/main" id="{81560F81-2838-DDA5-D64A-5721BD352B9B}"/>
              </a:ext>
            </a:extLst>
          </p:cNvPr>
          <p:cNvCxnSpPr>
            <a:stCxn id="21" idx="2"/>
            <a:endCxn id="25" idx="0"/>
          </p:cNvCxnSpPr>
          <p:nvPr/>
        </p:nvCxnSpPr>
        <p:spPr>
          <a:xfrm rot="5400000">
            <a:off x="5108326" y="2755720"/>
            <a:ext cx="397413" cy="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Connector: Curved 75">
            <a:extLst>
              <a:ext uri="{FF2B5EF4-FFF2-40B4-BE49-F238E27FC236}">
                <a16:creationId xmlns:a16="http://schemas.microsoft.com/office/drawing/2014/main" id="{5D6045F8-35A6-CAF7-2165-CB8AD10D6C32}"/>
              </a:ext>
            </a:extLst>
          </p:cNvPr>
          <p:cNvCxnSpPr>
            <a:stCxn id="24" idx="2"/>
            <a:endCxn id="28" idx="0"/>
          </p:cNvCxnSpPr>
          <p:nvPr/>
        </p:nvCxnSpPr>
        <p:spPr>
          <a:xfrm rot="16200000" flipH="1">
            <a:off x="3872692" y="4553080"/>
            <a:ext cx="600326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Connector: Curved 77">
            <a:extLst>
              <a:ext uri="{FF2B5EF4-FFF2-40B4-BE49-F238E27FC236}">
                <a16:creationId xmlns:a16="http://schemas.microsoft.com/office/drawing/2014/main" id="{600FB01E-D923-F2CE-0C68-05B76E14D6E2}"/>
              </a:ext>
            </a:extLst>
          </p:cNvPr>
          <p:cNvCxnSpPr>
            <a:endCxn id="29" idx="0"/>
          </p:cNvCxnSpPr>
          <p:nvPr/>
        </p:nvCxnSpPr>
        <p:spPr>
          <a:xfrm rot="5400000">
            <a:off x="5026006" y="4562194"/>
            <a:ext cx="568405" cy="635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Connector: Curved 79">
            <a:extLst>
              <a:ext uri="{FF2B5EF4-FFF2-40B4-BE49-F238E27FC236}">
                <a16:creationId xmlns:a16="http://schemas.microsoft.com/office/drawing/2014/main" id="{CC4650E3-2BD4-A0FC-03C2-8901308FF112}"/>
              </a:ext>
            </a:extLst>
          </p:cNvPr>
          <p:cNvCxnSpPr>
            <a:stCxn id="28" idx="2"/>
            <a:endCxn id="40" idx="0"/>
          </p:cNvCxnSpPr>
          <p:nvPr/>
        </p:nvCxnSpPr>
        <p:spPr>
          <a:xfrm rot="16200000" flipH="1">
            <a:off x="4963731" y="4495506"/>
            <a:ext cx="680187" cy="2261936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Connector: Curved 85">
            <a:extLst>
              <a:ext uri="{FF2B5EF4-FFF2-40B4-BE49-F238E27FC236}">
                <a16:creationId xmlns:a16="http://schemas.microsoft.com/office/drawing/2014/main" id="{7C375C9C-524A-AD5D-DA27-2BA71867290F}"/>
              </a:ext>
            </a:extLst>
          </p:cNvPr>
          <p:cNvCxnSpPr>
            <a:stCxn id="29" idx="2"/>
            <a:endCxn id="40" idx="0"/>
          </p:cNvCxnSpPr>
          <p:nvPr/>
        </p:nvCxnSpPr>
        <p:spPr>
          <a:xfrm rot="16200000" flipH="1">
            <a:off x="5528983" y="5060758"/>
            <a:ext cx="683859" cy="1127760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Connector: Curved 87">
            <a:extLst>
              <a:ext uri="{FF2B5EF4-FFF2-40B4-BE49-F238E27FC236}">
                <a16:creationId xmlns:a16="http://schemas.microsoft.com/office/drawing/2014/main" id="{00A46C74-5BCF-DD36-A458-56B5775B1F05}"/>
              </a:ext>
            </a:extLst>
          </p:cNvPr>
          <p:cNvCxnSpPr>
            <a:stCxn id="33" idx="2"/>
            <a:endCxn id="40" idx="0"/>
          </p:cNvCxnSpPr>
          <p:nvPr/>
        </p:nvCxnSpPr>
        <p:spPr>
          <a:xfrm rot="5400000">
            <a:off x="6340010" y="5379052"/>
            <a:ext cx="672566" cy="48300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Connector: Curved 89">
            <a:extLst>
              <a:ext uri="{FF2B5EF4-FFF2-40B4-BE49-F238E27FC236}">
                <a16:creationId xmlns:a16="http://schemas.microsoft.com/office/drawing/2014/main" id="{4930D37C-7A04-D229-5A52-600CAF10F537}"/>
              </a:ext>
            </a:extLst>
          </p:cNvPr>
          <p:cNvCxnSpPr>
            <a:endCxn id="40" idx="0"/>
          </p:cNvCxnSpPr>
          <p:nvPr/>
        </p:nvCxnSpPr>
        <p:spPr>
          <a:xfrm rot="10800000" flipV="1">
            <a:off x="6434792" y="5435108"/>
            <a:ext cx="3101006" cy="531459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Arrow: Right 3">
            <a:extLst>
              <a:ext uri="{FF2B5EF4-FFF2-40B4-BE49-F238E27FC236}">
                <a16:creationId xmlns:a16="http://schemas.microsoft.com/office/drawing/2014/main" id="{A4006DDA-5780-093F-E9CB-7388D56EF17B}"/>
              </a:ext>
            </a:extLst>
          </p:cNvPr>
          <p:cNvSpPr/>
          <p:nvPr/>
        </p:nvSpPr>
        <p:spPr>
          <a:xfrm>
            <a:off x="734745" y="5888378"/>
            <a:ext cx="579967" cy="569329"/>
          </a:xfrm>
          <a:prstGeom prst="rightArrow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1600" noProof="0" dirty="0" err="1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8556849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38B4F-994D-7CC7-D63E-8F1F209FD7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3DC3B9E-500E-32DE-F40D-A8166F821E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1056" y="1715732"/>
            <a:ext cx="8513763" cy="2524143"/>
          </a:xfrm>
        </p:spPr>
        <p:txBody>
          <a:bodyPr/>
          <a:lstStyle/>
          <a:p>
            <a:r>
              <a:rPr lang="en-GB" dirty="0"/>
              <a:t>Flashin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62B530-968D-3D7B-1675-4835B33FF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62C703-FA05-A2B8-E057-45FC76809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40F49D-DFAF-D291-776B-1EA5E7A96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C2752BA5-B876-237F-3EA3-1F52BCD4478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0726" y="3254369"/>
            <a:ext cx="6750118" cy="2640593"/>
          </a:xfrm>
        </p:spPr>
        <p:txBody>
          <a:bodyPr/>
          <a:lstStyle/>
          <a:p>
            <a:r>
              <a:rPr lang="en-GB" sz="2000" dirty="0"/>
              <a:t>Moves the HEX file to target device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BC05A8-1404-01E1-08B5-68256BC28E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73915" y="1782748"/>
            <a:ext cx="5058412" cy="38086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5675546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BE7E7A3-0037-95B2-255C-7B3F7D604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on Flashing errors</a:t>
            </a:r>
            <a:endParaRPr lang="da-D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A6B37D14-668C-3553-411E-B57CE9620AFA}"/>
              </a:ext>
            </a:extLst>
          </p:cNvPr>
          <p:cNvSpPr>
            <a:spLocks noGrp="1"/>
          </p:cNvSpPr>
          <p:nvPr>
            <p:ph type="subTitle" idx="18"/>
          </p:nvPr>
        </p:nvSpPr>
        <p:spPr/>
        <p:txBody>
          <a:bodyPr/>
          <a:lstStyle/>
          <a:p>
            <a:r>
              <a:rPr lang="en-GB"/>
              <a:t>Cortex-M0</a:t>
            </a:r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C9AA64-EA25-E19E-409B-029E98222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AFDAF-8D09-4A4D-823A-19DFB57FF49D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6BE3D9-1853-3FF8-1740-92D0B906D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622DBB-BB44-6D88-1AA9-E2841EFC4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6</a:t>
            </a:fld>
            <a:endParaRPr lang="en-GB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46E1451-CE66-3810-4CCE-15D537E525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4048186"/>
              </p:ext>
            </p:extLst>
          </p:nvPr>
        </p:nvGraphicFramePr>
        <p:xfrm>
          <a:off x="361950" y="2101905"/>
          <a:ext cx="11471274" cy="3437484"/>
        </p:xfrm>
        <a:graphic>
          <a:graphicData uri="http://schemas.openxmlformats.org/drawingml/2006/table">
            <a:tbl>
              <a:tblPr/>
              <a:tblGrid>
                <a:gridCol w="5735637">
                  <a:extLst>
                    <a:ext uri="{9D8B030D-6E8A-4147-A177-3AD203B41FA5}">
                      <a16:colId xmlns:a16="http://schemas.microsoft.com/office/drawing/2014/main" val="371552745"/>
                    </a:ext>
                  </a:extLst>
                </a:gridCol>
                <a:gridCol w="5735637">
                  <a:extLst>
                    <a:ext uri="{9D8B030D-6E8A-4147-A177-3AD203B41FA5}">
                      <a16:colId xmlns:a16="http://schemas.microsoft.com/office/drawing/2014/main" val="1880336354"/>
                    </a:ext>
                  </a:extLst>
                </a:gridCol>
              </a:tblGrid>
              <a:tr h="477594">
                <a:tc>
                  <a:txBody>
                    <a:bodyPr/>
                    <a:lstStyle/>
                    <a:p>
                      <a:pPr algn="ctr" fontAlgn="t"/>
                      <a:r>
                        <a:rPr lang="da-DK" sz="1200" b="1" dirty="0" err="1">
                          <a:effectLst/>
                        </a:rPr>
                        <a:t>Error</a:t>
                      </a:r>
                      <a:r>
                        <a:rPr lang="da-DK" sz="1200" b="1" dirty="0">
                          <a:effectLst/>
                        </a:rPr>
                        <a:t> Output</a:t>
                      </a:r>
                    </a:p>
                  </a:txBody>
                  <a:tcPr marL="61278" marR="61278" marT="61278" marB="6127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D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a-DK" sz="1200" b="1" dirty="0" err="1">
                          <a:effectLst/>
                        </a:rPr>
                        <a:t>Likely</a:t>
                      </a:r>
                      <a:r>
                        <a:rPr lang="da-DK" sz="1200" b="1" dirty="0">
                          <a:effectLst/>
                        </a:rPr>
                        <a:t> Cause</a:t>
                      </a:r>
                    </a:p>
                  </a:txBody>
                  <a:tcPr marL="61278" marR="61278" marT="61278" marB="6127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D2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8731929"/>
                  </a:ext>
                </a:extLst>
              </a:tr>
              <a:tr h="763554"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Error: unable to connect to target.</a:t>
                      </a:r>
                      <a:b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</a:br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No device found on SWD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>
                          <a:effectLst/>
                        </a:rPr>
                        <a:t>No SWD connection or target not powered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3515379"/>
                  </a:ext>
                </a:extLst>
              </a:tr>
              <a:tr h="477594"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Error: Failed to read IDCODE from target via SWD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>
                          <a:effectLst/>
                        </a:rPr>
                        <a:t>Bad SWD wiring or incompatible device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244998"/>
                  </a:ext>
                </a:extLst>
              </a:tr>
              <a:tr h="477594"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Error: Flash programming failed - device is read protected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>
                          <a:effectLst/>
                        </a:rPr>
                        <a:t>MCU flash is locked/read-protected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1909127"/>
                  </a:ext>
                </a:extLst>
              </a:tr>
              <a:tr h="763554"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Error: Verification mismatch at address 0x08001234.</a:t>
                      </a:r>
                      <a:b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</a:br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Expected: 0x12, Found: 0xFF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>
                          <a:effectLst/>
                        </a:rPr>
                        <a:t>Verification failed – bad write or corrupted .hex file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7953474"/>
                  </a:ext>
                </a:extLst>
              </a:tr>
              <a:tr h="477594"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Error: Timed out waiting for ACK/NACK response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</a:rPr>
                        <a:t>Tool lost communication with the target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8182110"/>
                  </a:ext>
                </a:extLst>
              </a:tr>
            </a:tbl>
          </a:graphicData>
        </a:graphic>
      </p:graphicFrame>
      <p:sp>
        <p:nvSpPr>
          <p:cNvPr id="10" name="Rectangle 1">
            <a:extLst>
              <a:ext uri="{FF2B5EF4-FFF2-40B4-BE49-F238E27FC236}">
                <a16:creationId xmlns:a16="http://schemas.microsoft.com/office/drawing/2014/main" id="{16E8CBE0-6955-FD8D-75C6-C59E40FE7C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488155" y="6858000"/>
            <a:ext cx="12192000" cy="457200"/>
          </a:xfrm>
          <a:prstGeom prst="rect">
            <a:avLst/>
          </a:prstGeom>
          <a:solidFill>
            <a:srgbClr val="F9F9F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171396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12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ICkit (Microchip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altLang="da-DK" sz="12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12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WD (ARM Cortex-M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28083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A21E51-4A62-7739-9A24-3B17AAE961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73F452-5AA2-1A1E-8A53-873E0129D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on Flashing errors</a:t>
            </a:r>
            <a:endParaRPr lang="da-D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2C5AE53-DA9A-4E1B-B0CE-56079E9B79C2}"/>
              </a:ext>
            </a:extLst>
          </p:cNvPr>
          <p:cNvSpPr>
            <a:spLocks noGrp="1"/>
          </p:cNvSpPr>
          <p:nvPr>
            <p:ph type="subTitle" idx="18"/>
          </p:nvPr>
        </p:nvSpPr>
        <p:spPr/>
        <p:txBody>
          <a:bodyPr/>
          <a:lstStyle/>
          <a:p>
            <a:r>
              <a:rPr lang="en-GB" dirty="0" err="1"/>
              <a:t>PICKit</a:t>
            </a:r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5C0B5F-3F44-0050-2589-5A4BB322D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AFDAF-8D09-4A4D-823A-19DFB57FF49D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4E2285-7DEA-832D-CEB5-00670E9AAC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0C4170-EE2F-09E8-B4EF-54E72154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7</a:t>
            </a:fld>
            <a:endParaRPr lang="en-GB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EF123BF-1568-161F-DAFA-2F9A4F426F83}"/>
              </a:ext>
            </a:extLst>
          </p:cNvPr>
          <p:cNvGraphicFramePr>
            <a:graphicFrameLocks noGrp="1"/>
          </p:cNvGraphicFramePr>
          <p:nvPr/>
        </p:nvGraphicFramePr>
        <p:xfrm>
          <a:off x="361950" y="2202426"/>
          <a:ext cx="11471274" cy="2954254"/>
        </p:xfrm>
        <a:graphic>
          <a:graphicData uri="http://schemas.openxmlformats.org/drawingml/2006/table">
            <a:tbl>
              <a:tblPr/>
              <a:tblGrid>
                <a:gridCol w="5735637">
                  <a:extLst>
                    <a:ext uri="{9D8B030D-6E8A-4147-A177-3AD203B41FA5}">
                      <a16:colId xmlns:a16="http://schemas.microsoft.com/office/drawing/2014/main" val="1828319998"/>
                    </a:ext>
                  </a:extLst>
                </a:gridCol>
                <a:gridCol w="5735637">
                  <a:extLst>
                    <a:ext uri="{9D8B030D-6E8A-4147-A177-3AD203B41FA5}">
                      <a16:colId xmlns:a16="http://schemas.microsoft.com/office/drawing/2014/main" val="2382760822"/>
                    </a:ext>
                  </a:extLst>
                </a:gridCol>
              </a:tblGrid>
              <a:tr h="447699">
                <a:tc>
                  <a:txBody>
                    <a:bodyPr/>
                    <a:lstStyle/>
                    <a:p>
                      <a:pPr algn="ctr" fontAlgn="t"/>
                      <a:r>
                        <a:rPr lang="da-DK" sz="1200" b="1" dirty="0" err="1">
                          <a:effectLst/>
                        </a:rPr>
                        <a:t>Error</a:t>
                      </a:r>
                      <a:r>
                        <a:rPr lang="da-DK" sz="1200" b="1" dirty="0">
                          <a:effectLst/>
                        </a:rPr>
                        <a:t> Output</a:t>
                      </a:r>
                    </a:p>
                  </a:txBody>
                  <a:tcPr marL="61278" marR="61278" marT="61278" marB="6127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D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a-DK" sz="1200" b="1" dirty="0" err="1">
                          <a:effectLst/>
                        </a:rPr>
                        <a:t>Likely</a:t>
                      </a:r>
                      <a:r>
                        <a:rPr lang="da-DK" sz="1200" b="1" dirty="0">
                          <a:effectLst/>
                        </a:rPr>
                        <a:t> Cause</a:t>
                      </a:r>
                    </a:p>
                  </a:txBody>
                  <a:tcPr marL="61278" marR="61278" marT="61278" marB="6127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D2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4067258"/>
                  </a:ext>
                </a:extLst>
              </a:tr>
              <a:tr h="447699"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Target device not found (could not detect device ID)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</a:rPr>
                        <a:t>No connection, wrong wiring, or unpowered target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438564"/>
                  </a:ext>
                </a:extLst>
              </a:tr>
              <a:tr h="447699">
                <a:tc>
                  <a:txBody>
                    <a:bodyPr/>
                    <a:lstStyle/>
                    <a:p>
                      <a:pPr fontAlgn="t"/>
                      <a:r>
                        <a:rPr lang="en-US" sz="1200">
                          <a:effectLst/>
                          <a:latin typeface="Aptos Mono" panose="020B0009020202020204" pitchFamily="49" charset="0"/>
                        </a:rPr>
                        <a:t>Device ID mismatch. Expected: 0x1234, Found: 0x5678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>
                          <a:effectLst/>
                        </a:rPr>
                        <a:t>Wrong device selected in the tool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3579190"/>
                  </a:ext>
                </a:extLst>
              </a:tr>
              <a:tr h="715759"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Programming failed at address 0x000004</a:t>
                      </a:r>
                      <a:b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</a:br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Verify failed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>
                          <a:effectLst/>
                        </a:rPr>
                        <a:t>Flash write error or corrupted .hex file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3208807"/>
                  </a:ext>
                </a:extLst>
              </a:tr>
              <a:tr h="447699">
                <a:tc>
                  <a:txBody>
                    <a:bodyPr/>
                    <a:lstStyle/>
                    <a:p>
                      <a:pPr fontAlgn="t"/>
                      <a:r>
                        <a:rPr lang="en-US" sz="1200">
                          <a:effectLst/>
                          <a:latin typeface="Aptos Mono" panose="020B0009020202020204" pitchFamily="49" charset="0"/>
                        </a:rPr>
                        <a:t>Target Vdd not detected. Check power and connections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>
                          <a:effectLst/>
                        </a:rPr>
                        <a:t>MCU not powered or bad connection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5583397"/>
                  </a:ext>
                </a:extLst>
              </a:tr>
              <a:tr h="447699"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 err="1">
                          <a:effectLst/>
                          <a:latin typeface="Aptos Mono" panose="020B0009020202020204" pitchFamily="49" charset="0"/>
                        </a:rPr>
                        <a:t>Vpp</a:t>
                      </a:r>
                      <a:r>
                        <a:rPr lang="en-US" sz="1200" dirty="0">
                          <a:effectLst/>
                          <a:latin typeface="Aptos Mono" panose="020B0009020202020204" pitchFamily="49" charset="0"/>
                        </a:rPr>
                        <a:t> voltage out of range. Ensure proper connections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200" dirty="0">
                          <a:effectLst/>
                        </a:rPr>
                        <a:t>Incorrect programming voltage or wiring issue.</a:t>
                      </a:r>
                    </a:p>
                  </a:txBody>
                  <a:tcPr marL="61278" marR="61278" marT="61278" marB="6127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0765728"/>
                  </a:ext>
                </a:extLst>
              </a:tr>
            </a:tbl>
          </a:graphicData>
        </a:graphic>
      </p:graphicFrame>
      <p:sp>
        <p:nvSpPr>
          <p:cNvPr id="10" name="Rectangle 1">
            <a:extLst>
              <a:ext uri="{FF2B5EF4-FFF2-40B4-BE49-F238E27FC236}">
                <a16:creationId xmlns:a16="http://schemas.microsoft.com/office/drawing/2014/main" id="{682A3FD6-2E50-8CBD-FD8F-ABCF7D153B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488155" y="6858000"/>
            <a:ext cx="12192000" cy="457200"/>
          </a:xfrm>
          <a:prstGeom prst="rect">
            <a:avLst/>
          </a:prstGeom>
          <a:solidFill>
            <a:srgbClr val="F9F9F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171396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12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ICkit (Microchip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altLang="da-DK" sz="12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12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WD (ARM Cortex-M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292580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7FB4B-888E-4B8F-BDEF-0DB8162726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39204" y="720000"/>
            <a:ext cx="7690013" cy="1206077"/>
          </a:xfrm>
        </p:spPr>
        <p:txBody>
          <a:bodyPr/>
          <a:lstStyle/>
          <a:p>
            <a:r>
              <a:rPr lang="en-US" dirty="0"/>
              <a:t>Questions?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AAF6F8-1E62-403D-8989-6CA669CCB6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39204" y="2328390"/>
            <a:ext cx="7886700" cy="720000"/>
          </a:xfrm>
        </p:spPr>
        <p:txBody>
          <a:bodyPr/>
          <a:lstStyle/>
          <a:p>
            <a:r>
              <a:rPr lang="en-US" dirty="0"/>
              <a:t>Thank you for your tim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D942C7-0776-4258-86D2-EDF0BE4E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3BF-A2B6-4C53-ADC8-0614C4897278}" type="datetime3">
              <a:rPr lang="en-GB" smtClean="0"/>
              <a:t>19 September, 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2D83F7-12F9-4A70-A059-D0C7BA0A7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D2BF89-47F8-4571-B517-AD2C8F00D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D2C471-DCA6-499D-A462-4E983AB706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Morten Winkler Jørgensen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628CD7-8A38-CD00-2FA1-10146410BE70}"/>
              </a:ext>
            </a:extLst>
          </p:cNvPr>
          <p:cNvSpPr txBox="1">
            <a:spLocks/>
          </p:cNvSpPr>
          <p:nvPr/>
        </p:nvSpPr>
        <p:spPr>
          <a:xfrm>
            <a:off x="2339204" y="4146860"/>
            <a:ext cx="7886700" cy="19900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3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 did not cover Make and </a:t>
            </a:r>
            <a:r>
              <a:rPr lang="en-US" dirty="0" err="1"/>
              <a:t>CMak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Those interested can join me in conference </a:t>
            </a:r>
            <a:r>
              <a:rPr lang="en-US"/>
              <a:t>room B where </a:t>
            </a:r>
            <a:r>
              <a:rPr lang="en-US" dirty="0"/>
              <a:t>I will continue if you want me to.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27900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75" y="554080"/>
            <a:ext cx="11471250" cy="578448"/>
          </a:xfrm>
        </p:spPr>
        <p:txBody>
          <a:bodyPr/>
          <a:lstStyle/>
          <a:p>
            <a:r>
              <a:rPr lang="en-GB" dirty="0"/>
              <a:t>Over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F785755-DAEA-4A22-3A5A-C31C9188727A}"/>
              </a:ext>
            </a:extLst>
          </p:cNvPr>
          <p:cNvSpPr/>
          <p:nvPr/>
        </p:nvSpPr>
        <p:spPr>
          <a:xfrm>
            <a:off x="1449115" y="2024186"/>
            <a:ext cx="9170335" cy="644050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Preprocessing</a:t>
            </a:r>
            <a:endParaRPr lang="da-DK" sz="1600" noProof="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C46875-D5F1-710E-C995-E0749A88CE90}"/>
              </a:ext>
            </a:extLst>
          </p:cNvPr>
          <p:cNvSpPr/>
          <p:nvPr/>
        </p:nvSpPr>
        <p:spPr>
          <a:xfrm>
            <a:off x="1446759" y="1253310"/>
            <a:ext cx="9170335" cy="586128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/>
              <a:t>Typing </a:t>
            </a:r>
            <a:r>
              <a:rPr lang="da-DK" sz="1600" dirty="0" err="1"/>
              <a:t>code</a:t>
            </a:r>
            <a:endParaRPr lang="da-DK" sz="1600" noProof="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0B252C-4E2B-DC20-35C1-EC00C5D6BF18}"/>
              </a:ext>
            </a:extLst>
          </p:cNvPr>
          <p:cNvSpPr/>
          <p:nvPr/>
        </p:nvSpPr>
        <p:spPr>
          <a:xfrm>
            <a:off x="1448321" y="2804151"/>
            <a:ext cx="9171129" cy="1601844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Compiling</a:t>
            </a:r>
            <a:endParaRPr lang="da-DK" sz="1600" noProof="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F8C6D0-0969-321E-F4E6-18CFD50AF775}"/>
              </a:ext>
            </a:extLst>
          </p:cNvPr>
          <p:cNvSpPr/>
          <p:nvPr/>
        </p:nvSpPr>
        <p:spPr>
          <a:xfrm>
            <a:off x="1449115" y="4528023"/>
            <a:ext cx="9151144" cy="1076667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Linking</a:t>
            </a:r>
            <a:endParaRPr lang="da-DK" sz="16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97B4CF-C545-843A-4880-DDBD43BEF2D1}"/>
              </a:ext>
            </a:extLst>
          </p:cNvPr>
          <p:cNvSpPr/>
          <p:nvPr/>
        </p:nvSpPr>
        <p:spPr>
          <a:xfrm>
            <a:off x="1449115" y="5827003"/>
            <a:ext cx="9151144" cy="712269"/>
          </a:xfrm>
          <a:prstGeom prst="rect">
            <a:avLst/>
          </a:prstGeom>
          <a:ln>
            <a:solidFill>
              <a:srgbClr val="7979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600" dirty="0" err="1"/>
              <a:t>Flashing</a:t>
            </a:r>
            <a:endParaRPr lang="da-DK" sz="1600" noProof="0" dirty="0" err="1"/>
          </a:p>
        </p:txBody>
      </p:sp>
      <p:sp>
        <p:nvSpPr>
          <p:cNvPr id="12" name="Scroll: Vertical 11">
            <a:extLst>
              <a:ext uri="{FF2B5EF4-FFF2-40B4-BE49-F238E27FC236}">
                <a16:creationId xmlns:a16="http://schemas.microsoft.com/office/drawing/2014/main" id="{4A007C7B-1322-650B-76DE-87775E10A8C6}"/>
              </a:ext>
            </a:extLst>
          </p:cNvPr>
          <p:cNvSpPr/>
          <p:nvPr/>
        </p:nvSpPr>
        <p:spPr>
          <a:xfrm>
            <a:off x="3748468" y="1341531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</a:t>
            </a:r>
            <a:r>
              <a:rPr lang="da-DK" sz="1600" noProof="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15" name="Scroll: Vertical 14">
            <a:extLst>
              <a:ext uri="{FF2B5EF4-FFF2-40B4-BE49-F238E27FC236}">
                <a16:creationId xmlns:a16="http://schemas.microsoft.com/office/drawing/2014/main" id="{716BF737-BC9F-3FC5-2E50-6F09BD7394B8}"/>
              </a:ext>
            </a:extLst>
          </p:cNvPr>
          <p:cNvSpPr/>
          <p:nvPr/>
        </p:nvSpPr>
        <p:spPr>
          <a:xfrm>
            <a:off x="4882645" y="1349096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0" name="Scroll: Vertical 19">
            <a:extLst>
              <a:ext uri="{FF2B5EF4-FFF2-40B4-BE49-F238E27FC236}">
                <a16:creationId xmlns:a16="http://schemas.microsoft.com/office/drawing/2014/main" id="{6C375B20-2519-820A-097B-829B174DBE8E}"/>
              </a:ext>
            </a:extLst>
          </p:cNvPr>
          <p:cNvSpPr/>
          <p:nvPr/>
        </p:nvSpPr>
        <p:spPr>
          <a:xfrm>
            <a:off x="3787049" y="2134516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</a:t>
            </a:r>
            <a:r>
              <a:rPr lang="da-DK" sz="1600" noProof="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1" name="Scroll: Vertical 20">
            <a:extLst>
              <a:ext uri="{FF2B5EF4-FFF2-40B4-BE49-F238E27FC236}">
                <a16:creationId xmlns:a16="http://schemas.microsoft.com/office/drawing/2014/main" id="{FDB78099-D4BA-018E-BA5F-DDDF9AEF2CE5}"/>
              </a:ext>
            </a:extLst>
          </p:cNvPr>
          <p:cNvSpPr/>
          <p:nvPr/>
        </p:nvSpPr>
        <p:spPr>
          <a:xfrm>
            <a:off x="4921226" y="2123878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4" name="Scroll: Vertical 23">
            <a:extLst>
              <a:ext uri="{FF2B5EF4-FFF2-40B4-BE49-F238E27FC236}">
                <a16:creationId xmlns:a16="http://schemas.microsoft.com/office/drawing/2014/main" id="{8207C63C-6DC8-294C-69D1-47E33CECC446}"/>
              </a:ext>
            </a:extLst>
          </p:cNvPr>
          <p:cNvSpPr/>
          <p:nvPr/>
        </p:nvSpPr>
        <p:spPr>
          <a:xfrm>
            <a:off x="3748468" y="2926179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i</a:t>
            </a:r>
          </a:p>
        </p:txBody>
      </p:sp>
      <p:sp>
        <p:nvSpPr>
          <p:cNvPr id="25" name="Scroll: Vertical 24">
            <a:extLst>
              <a:ext uri="{FF2B5EF4-FFF2-40B4-BE49-F238E27FC236}">
                <a16:creationId xmlns:a16="http://schemas.microsoft.com/office/drawing/2014/main" id="{155CB003-981E-C724-EEA1-E54E3E03D295}"/>
              </a:ext>
            </a:extLst>
          </p:cNvPr>
          <p:cNvSpPr/>
          <p:nvPr/>
        </p:nvSpPr>
        <p:spPr>
          <a:xfrm>
            <a:off x="4882644" y="2954428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i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8" name="Scroll: Vertical 27">
            <a:extLst>
              <a:ext uri="{FF2B5EF4-FFF2-40B4-BE49-F238E27FC236}">
                <a16:creationId xmlns:a16="http://schemas.microsoft.com/office/drawing/2014/main" id="{29F00892-FA7A-E1FF-0551-F634DD2DDA1B}"/>
              </a:ext>
            </a:extLst>
          </p:cNvPr>
          <p:cNvSpPr/>
          <p:nvPr/>
        </p:nvSpPr>
        <p:spPr>
          <a:xfrm>
            <a:off x="3706030" y="4853244"/>
            <a:ext cx="933651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noProof="0" dirty="0">
                <a:solidFill>
                  <a:schemeClr val="tx1"/>
                </a:solidFill>
              </a:rPr>
              <a:t>.o</a:t>
            </a:r>
          </a:p>
        </p:txBody>
      </p:sp>
      <p:sp>
        <p:nvSpPr>
          <p:cNvPr id="29" name="Scroll: Vertical 28">
            <a:extLst>
              <a:ext uri="{FF2B5EF4-FFF2-40B4-BE49-F238E27FC236}">
                <a16:creationId xmlns:a16="http://schemas.microsoft.com/office/drawing/2014/main" id="{D1650975-C2A9-9A8D-5C3D-01B23EEB577B}"/>
              </a:ext>
            </a:extLst>
          </p:cNvPr>
          <p:cNvSpPr/>
          <p:nvPr/>
        </p:nvSpPr>
        <p:spPr>
          <a:xfrm>
            <a:off x="4840206" y="4849572"/>
            <a:ext cx="933651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o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33" name="Scroll: Vertical 32">
            <a:extLst>
              <a:ext uri="{FF2B5EF4-FFF2-40B4-BE49-F238E27FC236}">
                <a16:creationId xmlns:a16="http://schemas.microsoft.com/office/drawing/2014/main" id="{1188770A-0D74-1FD7-64AD-E881B47B67EC}"/>
              </a:ext>
            </a:extLst>
          </p:cNvPr>
          <p:cNvSpPr/>
          <p:nvPr/>
        </p:nvSpPr>
        <p:spPr>
          <a:xfrm>
            <a:off x="6009409" y="4851133"/>
            <a:ext cx="1816769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Linker script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C8F77F9-A285-F6C7-46AB-61F8C377F82F}"/>
              </a:ext>
            </a:extLst>
          </p:cNvPr>
          <p:cNvGrpSpPr/>
          <p:nvPr/>
        </p:nvGrpSpPr>
        <p:grpSpPr>
          <a:xfrm>
            <a:off x="8322614" y="4697172"/>
            <a:ext cx="2121569" cy="737937"/>
            <a:chOff x="4079975" y="-887980"/>
            <a:chExt cx="2121569" cy="737937"/>
          </a:xfrm>
        </p:grpSpPr>
        <p:sp>
          <p:nvSpPr>
            <p:cNvPr id="34" name="Scroll: Vertical 33">
              <a:extLst>
                <a:ext uri="{FF2B5EF4-FFF2-40B4-BE49-F238E27FC236}">
                  <a16:creationId xmlns:a16="http://schemas.microsoft.com/office/drawing/2014/main" id="{818AF54C-3093-B857-9828-4A3C8A95CBB5}"/>
                </a:ext>
              </a:extLst>
            </p:cNvPr>
            <p:cNvSpPr/>
            <p:nvPr/>
          </p:nvSpPr>
          <p:spPr>
            <a:xfrm>
              <a:off x="4079975" y="-8879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  <p:sp>
          <p:nvSpPr>
            <p:cNvPr id="35" name="Scroll: Vertical 34">
              <a:extLst>
                <a:ext uri="{FF2B5EF4-FFF2-40B4-BE49-F238E27FC236}">
                  <a16:creationId xmlns:a16="http://schemas.microsoft.com/office/drawing/2014/main" id="{D36C6C92-BD1B-C66C-A04D-E4451660314A}"/>
                </a:ext>
              </a:extLst>
            </p:cNvPr>
            <p:cNvSpPr/>
            <p:nvPr/>
          </p:nvSpPr>
          <p:spPr>
            <a:xfrm>
              <a:off x="4232375" y="-7355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  <p:sp>
          <p:nvSpPr>
            <p:cNvPr id="36" name="Scroll: Vertical 35">
              <a:extLst>
                <a:ext uri="{FF2B5EF4-FFF2-40B4-BE49-F238E27FC236}">
                  <a16:creationId xmlns:a16="http://schemas.microsoft.com/office/drawing/2014/main" id="{348AC24C-E005-1A23-1FA9-78E9EDC3BA14}"/>
                </a:ext>
              </a:extLst>
            </p:cNvPr>
            <p:cNvSpPr/>
            <p:nvPr/>
          </p:nvSpPr>
          <p:spPr>
            <a:xfrm>
              <a:off x="4384775" y="-583180"/>
              <a:ext cx="1816769" cy="433137"/>
            </a:xfrm>
            <a:prstGeom prst="verticalScroll">
              <a:avLst/>
            </a:prstGeom>
            <a:solidFill>
              <a:srgbClr val="EEF7C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r>
                <a:rPr lang="da-DK" dirty="0">
                  <a:solidFill>
                    <a:schemeClr val="tx1"/>
                  </a:solidFill>
                </a:rPr>
                <a:t>Libraries</a:t>
              </a:r>
            </a:p>
          </p:txBody>
        </p:sp>
      </p:grpSp>
      <p:sp>
        <p:nvSpPr>
          <p:cNvPr id="40" name="Scroll: Vertical 39">
            <a:extLst>
              <a:ext uri="{FF2B5EF4-FFF2-40B4-BE49-F238E27FC236}">
                <a16:creationId xmlns:a16="http://schemas.microsoft.com/office/drawing/2014/main" id="{74987A51-6637-C138-1D48-88A0D32968F5}"/>
              </a:ext>
            </a:extLst>
          </p:cNvPr>
          <p:cNvSpPr/>
          <p:nvPr/>
        </p:nvSpPr>
        <p:spPr>
          <a:xfrm>
            <a:off x="5526407" y="5966568"/>
            <a:ext cx="1816769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Hexfile</a:t>
            </a:r>
            <a:endParaRPr lang="da-DK" dirty="0">
              <a:solidFill>
                <a:schemeClr val="tx1"/>
              </a:solidFill>
            </a:endParaRPr>
          </a:p>
        </p:txBody>
      </p:sp>
      <p:cxnSp>
        <p:nvCxnSpPr>
          <p:cNvPr id="68" name="Connector: Curved 67">
            <a:extLst>
              <a:ext uri="{FF2B5EF4-FFF2-40B4-BE49-F238E27FC236}">
                <a16:creationId xmlns:a16="http://schemas.microsoft.com/office/drawing/2014/main" id="{32587EED-2CC0-5D51-608A-E305BBCB2C31}"/>
              </a:ext>
            </a:extLst>
          </p:cNvPr>
          <p:cNvCxnSpPr>
            <a:stCxn id="12" idx="2"/>
            <a:endCxn id="20" idx="0"/>
          </p:cNvCxnSpPr>
          <p:nvPr/>
        </p:nvCxnSpPr>
        <p:spPr>
          <a:xfrm rot="16200000" flipH="1">
            <a:off x="3992931" y="1954591"/>
            <a:ext cx="359848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Connector: Curved 69">
            <a:extLst>
              <a:ext uri="{FF2B5EF4-FFF2-40B4-BE49-F238E27FC236}">
                <a16:creationId xmlns:a16="http://schemas.microsoft.com/office/drawing/2014/main" id="{1EB4F27B-B766-6732-3486-A0DD3B707131}"/>
              </a:ext>
            </a:extLst>
          </p:cNvPr>
          <p:cNvCxnSpPr>
            <a:stCxn id="15" idx="2"/>
            <a:endCxn id="21" idx="0"/>
          </p:cNvCxnSpPr>
          <p:nvPr/>
        </p:nvCxnSpPr>
        <p:spPr>
          <a:xfrm rot="16200000" flipH="1">
            <a:off x="5136210" y="1953054"/>
            <a:ext cx="341645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Connector: Curved 71">
            <a:extLst>
              <a:ext uri="{FF2B5EF4-FFF2-40B4-BE49-F238E27FC236}">
                <a16:creationId xmlns:a16="http://schemas.microsoft.com/office/drawing/2014/main" id="{768A4BBA-6DD0-7E55-7EF5-183A420265DA}"/>
              </a:ext>
            </a:extLst>
          </p:cNvPr>
          <p:cNvCxnSpPr>
            <a:stCxn id="20" idx="2"/>
            <a:endCxn id="24" idx="0"/>
          </p:cNvCxnSpPr>
          <p:nvPr/>
        </p:nvCxnSpPr>
        <p:spPr>
          <a:xfrm rot="5400000">
            <a:off x="3993593" y="2746916"/>
            <a:ext cx="358526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Connector: Curved 73">
            <a:extLst>
              <a:ext uri="{FF2B5EF4-FFF2-40B4-BE49-F238E27FC236}">
                <a16:creationId xmlns:a16="http://schemas.microsoft.com/office/drawing/2014/main" id="{3A5927BF-D36F-D2E5-D98A-6D0F567D5E0C}"/>
              </a:ext>
            </a:extLst>
          </p:cNvPr>
          <p:cNvCxnSpPr>
            <a:stCxn id="21" idx="2"/>
            <a:endCxn id="25" idx="0"/>
          </p:cNvCxnSpPr>
          <p:nvPr/>
        </p:nvCxnSpPr>
        <p:spPr>
          <a:xfrm rot="5400000">
            <a:off x="5108326" y="2755720"/>
            <a:ext cx="397413" cy="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Connector: Curved 75">
            <a:extLst>
              <a:ext uri="{FF2B5EF4-FFF2-40B4-BE49-F238E27FC236}">
                <a16:creationId xmlns:a16="http://schemas.microsoft.com/office/drawing/2014/main" id="{6D40CEEE-A005-BF46-7CAF-C1636977E725}"/>
              </a:ext>
            </a:extLst>
          </p:cNvPr>
          <p:cNvCxnSpPr>
            <a:stCxn id="24" idx="2"/>
            <a:endCxn id="28" idx="0"/>
          </p:cNvCxnSpPr>
          <p:nvPr/>
        </p:nvCxnSpPr>
        <p:spPr>
          <a:xfrm rot="16200000" flipH="1">
            <a:off x="3872692" y="4553080"/>
            <a:ext cx="600326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Connector: Curved 77">
            <a:extLst>
              <a:ext uri="{FF2B5EF4-FFF2-40B4-BE49-F238E27FC236}">
                <a16:creationId xmlns:a16="http://schemas.microsoft.com/office/drawing/2014/main" id="{8FD97F9C-E50F-E009-3237-D721ED16194A}"/>
              </a:ext>
            </a:extLst>
          </p:cNvPr>
          <p:cNvCxnSpPr>
            <a:endCxn id="29" idx="0"/>
          </p:cNvCxnSpPr>
          <p:nvPr/>
        </p:nvCxnSpPr>
        <p:spPr>
          <a:xfrm rot="5400000">
            <a:off x="5026006" y="4562194"/>
            <a:ext cx="568405" cy="635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Connector: Curved 79">
            <a:extLst>
              <a:ext uri="{FF2B5EF4-FFF2-40B4-BE49-F238E27FC236}">
                <a16:creationId xmlns:a16="http://schemas.microsoft.com/office/drawing/2014/main" id="{078EB637-B1E7-E20A-0BE2-32E3B5B99772}"/>
              </a:ext>
            </a:extLst>
          </p:cNvPr>
          <p:cNvCxnSpPr>
            <a:stCxn id="28" idx="2"/>
            <a:endCxn id="40" idx="0"/>
          </p:cNvCxnSpPr>
          <p:nvPr/>
        </p:nvCxnSpPr>
        <p:spPr>
          <a:xfrm rot="16200000" flipH="1">
            <a:off x="4963731" y="4495506"/>
            <a:ext cx="680187" cy="2261936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Connector: Curved 85">
            <a:extLst>
              <a:ext uri="{FF2B5EF4-FFF2-40B4-BE49-F238E27FC236}">
                <a16:creationId xmlns:a16="http://schemas.microsoft.com/office/drawing/2014/main" id="{05841ADC-8998-3439-CBDA-2EC3BB0AA23D}"/>
              </a:ext>
            </a:extLst>
          </p:cNvPr>
          <p:cNvCxnSpPr>
            <a:stCxn id="29" idx="2"/>
            <a:endCxn id="40" idx="0"/>
          </p:cNvCxnSpPr>
          <p:nvPr/>
        </p:nvCxnSpPr>
        <p:spPr>
          <a:xfrm rot="16200000" flipH="1">
            <a:off x="5528983" y="5060758"/>
            <a:ext cx="683859" cy="1127760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Connector: Curved 87">
            <a:extLst>
              <a:ext uri="{FF2B5EF4-FFF2-40B4-BE49-F238E27FC236}">
                <a16:creationId xmlns:a16="http://schemas.microsoft.com/office/drawing/2014/main" id="{0D84548E-4D9C-B14F-3529-62CAB15BA0D8}"/>
              </a:ext>
            </a:extLst>
          </p:cNvPr>
          <p:cNvCxnSpPr>
            <a:stCxn id="33" idx="2"/>
            <a:endCxn id="40" idx="0"/>
          </p:cNvCxnSpPr>
          <p:nvPr/>
        </p:nvCxnSpPr>
        <p:spPr>
          <a:xfrm rot="5400000">
            <a:off x="6340010" y="5379052"/>
            <a:ext cx="672566" cy="48300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Connector: Curved 89">
            <a:extLst>
              <a:ext uri="{FF2B5EF4-FFF2-40B4-BE49-F238E27FC236}">
                <a16:creationId xmlns:a16="http://schemas.microsoft.com/office/drawing/2014/main" id="{5876BBAF-1F4A-C515-B782-BC34367FB7B0}"/>
              </a:ext>
            </a:extLst>
          </p:cNvPr>
          <p:cNvCxnSpPr>
            <a:endCxn id="40" idx="0"/>
          </p:cNvCxnSpPr>
          <p:nvPr/>
        </p:nvCxnSpPr>
        <p:spPr>
          <a:xfrm rot="10800000" flipV="1">
            <a:off x="6434792" y="5435108"/>
            <a:ext cx="3101006" cy="531459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164DD84E-0DA1-AAF7-B97C-7B08A64E08FD}"/>
              </a:ext>
            </a:extLst>
          </p:cNvPr>
          <p:cNvSpPr/>
          <p:nvPr/>
        </p:nvSpPr>
        <p:spPr>
          <a:xfrm>
            <a:off x="1363133" y="1934634"/>
            <a:ext cx="9347200" cy="25527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1600" noProof="0" dirty="0" err="1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CA6614A-5A59-A1BE-047B-ADFA50C4DECF}"/>
              </a:ext>
            </a:extLst>
          </p:cNvPr>
          <p:cNvSpPr/>
          <p:nvPr/>
        </p:nvSpPr>
        <p:spPr>
          <a:xfrm>
            <a:off x="1335808" y="1905540"/>
            <a:ext cx="9407077" cy="3745959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1600" noProof="0" dirty="0" err="1"/>
          </a:p>
        </p:txBody>
      </p:sp>
      <p:sp>
        <p:nvSpPr>
          <p:cNvPr id="3" name="Scroll: Vertical 2">
            <a:extLst>
              <a:ext uri="{FF2B5EF4-FFF2-40B4-BE49-F238E27FC236}">
                <a16:creationId xmlns:a16="http://schemas.microsoft.com/office/drawing/2014/main" id="{8CDEB89D-44BF-8CEA-DD1A-7F83A52B9703}"/>
              </a:ext>
            </a:extLst>
          </p:cNvPr>
          <p:cNvSpPr/>
          <p:nvPr/>
        </p:nvSpPr>
        <p:spPr>
          <a:xfrm>
            <a:off x="6076941" y="1368904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4" name="Scroll: Vertical 3">
            <a:extLst>
              <a:ext uri="{FF2B5EF4-FFF2-40B4-BE49-F238E27FC236}">
                <a16:creationId xmlns:a16="http://schemas.microsoft.com/office/drawing/2014/main" id="{9BF6E6DE-00BD-4A3E-5D1A-4F83FAA8874D}"/>
              </a:ext>
            </a:extLst>
          </p:cNvPr>
          <p:cNvSpPr/>
          <p:nvPr/>
        </p:nvSpPr>
        <p:spPr>
          <a:xfrm>
            <a:off x="6115522" y="2143686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13" name="Scroll: Vertical 12">
            <a:extLst>
              <a:ext uri="{FF2B5EF4-FFF2-40B4-BE49-F238E27FC236}">
                <a16:creationId xmlns:a16="http://schemas.microsoft.com/office/drawing/2014/main" id="{76DA6A94-C062-E605-8372-DFDD07DDE782}"/>
              </a:ext>
            </a:extLst>
          </p:cNvPr>
          <p:cNvSpPr/>
          <p:nvPr/>
        </p:nvSpPr>
        <p:spPr>
          <a:xfrm>
            <a:off x="6076940" y="2974236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i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cxnSp>
        <p:nvCxnSpPr>
          <p:cNvPr id="14" name="Connector: Curved 13">
            <a:extLst>
              <a:ext uri="{FF2B5EF4-FFF2-40B4-BE49-F238E27FC236}">
                <a16:creationId xmlns:a16="http://schemas.microsoft.com/office/drawing/2014/main" id="{0FD35EB5-7725-F73D-8770-D721368F3899}"/>
              </a:ext>
            </a:extLst>
          </p:cNvPr>
          <p:cNvCxnSpPr>
            <a:stCxn id="3" idx="2"/>
            <a:endCxn id="4" idx="0"/>
          </p:cNvCxnSpPr>
          <p:nvPr/>
        </p:nvCxnSpPr>
        <p:spPr>
          <a:xfrm rot="16200000" flipH="1">
            <a:off x="6330506" y="1972862"/>
            <a:ext cx="341645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AF192179-9396-A43B-49FA-0F5A3AF46128}"/>
              </a:ext>
            </a:extLst>
          </p:cNvPr>
          <p:cNvCxnSpPr>
            <a:stCxn id="4" idx="2"/>
            <a:endCxn id="13" idx="0"/>
          </p:cNvCxnSpPr>
          <p:nvPr/>
        </p:nvCxnSpPr>
        <p:spPr>
          <a:xfrm rot="5400000">
            <a:off x="6302622" y="2775528"/>
            <a:ext cx="397413" cy="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or: Curved 22">
            <a:extLst>
              <a:ext uri="{FF2B5EF4-FFF2-40B4-BE49-F238E27FC236}">
                <a16:creationId xmlns:a16="http://schemas.microsoft.com/office/drawing/2014/main" id="{88E8BF3C-4027-0C21-90E7-9124EF226EBD}"/>
              </a:ext>
            </a:extLst>
          </p:cNvPr>
          <p:cNvCxnSpPr>
            <a:cxnSpLocks/>
          </p:cNvCxnSpPr>
          <p:nvPr/>
        </p:nvCxnSpPr>
        <p:spPr>
          <a:xfrm rot="16200000" flipH="1">
            <a:off x="5288610" y="2105454"/>
            <a:ext cx="341645" cy="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Curved 25">
            <a:extLst>
              <a:ext uri="{FF2B5EF4-FFF2-40B4-BE49-F238E27FC236}">
                <a16:creationId xmlns:a16="http://schemas.microsoft.com/office/drawing/2014/main" id="{64303ED5-4DF9-D0F9-9CB6-EB1A3B51D637}"/>
              </a:ext>
            </a:extLst>
          </p:cNvPr>
          <p:cNvCxnSpPr>
            <a:cxnSpLocks/>
          </p:cNvCxnSpPr>
          <p:nvPr/>
        </p:nvCxnSpPr>
        <p:spPr>
          <a:xfrm rot="5400000">
            <a:off x="5260726" y="2908120"/>
            <a:ext cx="397413" cy="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croll: Vertical 29">
            <a:extLst>
              <a:ext uri="{FF2B5EF4-FFF2-40B4-BE49-F238E27FC236}">
                <a16:creationId xmlns:a16="http://schemas.microsoft.com/office/drawing/2014/main" id="{6DCE0C82-622A-489D-3E55-9BF5BAB57714}"/>
              </a:ext>
            </a:extLst>
          </p:cNvPr>
          <p:cNvSpPr/>
          <p:nvPr/>
        </p:nvSpPr>
        <p:spPr>
          <a:xfrm>
            <a:off x="9420465" y="1362585"/>
            <a:ext cx="848774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.</a:t>
            </a:r>
            <a:r>
              <a:rPr lang="da-DK" sz="1600" dirty="0" err="1">
                <a:solidFill>
                  <a:schemeClr val="tx1"/>
                </a:solidFill>
              </a:rPr>
              <a:t>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31" name="Scroll: Vertical 30">
            <a:extLst>
              <a:ext uri="{FF2B5EF4-FFF2-40B4-BE49-F238E27FC236}">
                <a16:creationId xmlns:a16="http://schemas.microsoft.com/office/drawing/2014/main" id="{B033B1A3-FB1E-F02A-5822-332E19774BB8}"/>
              </a:ext>
            </a:extLst>
          </p:cNvPr>
          <p:cNvSpPr/>
          <p:nvPr/>
        </p:nvSpPr>
        <p:spPr>
          <a:xfrm>
            <a:off x="9459047" y="2164690"/>
            <a:ext cx="771613" cy="433137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>
                <a:solidFill>
                  <a:schemeClr val="tx1"/>
                </a:solidFill>
              </a:rPr>
              <a:t>.cpp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32" name="Scroll: Vertical 31">
            <a:extLst>
              <a:ext uri="{FF2B5EF4-FFF2-40B4-BE49-F238E27FC236}">
                <a16:creationId xmlns:a16="http://schemas.microsoft.com/office/drawing/2014/main" id="{EA2C2CED-3CB3-7B00-6BD0-011C3EEA0844}"/>
              </a:ext>
            </a:extLst>
          </p:cNvPr>
          <p:cNvSpPr/>
          <p:nvPr/>
        </p:nvSpPr>
        <p:spPr>
          <a:xfrm>
            <a:off x="9420465" y="2995240"/>
            <a:ext cx="848774" cy="1326739"/>
          </a:xfrm>
          <a:prstGeom prst="verticalScroll">
            <a:avLst/>
          </a:prstGeom>
          <a:solidFill>
            <a:srgbClr val="EEF7C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600">
                <a:solidFill>
                  <a:schemeClr val="tx1"/>
                </a:solidFill>
              </a:rPr>
              <a:t>.i</a:t>
            </a:r>
            <a:endParaRPr lang="da-DK" sz="1600" noProof="0" dirty="0">
              <a:solidFill>
                <a:schemeClr val="tx1"/>
              </a:solidFill>
            </a:endParaRPr>
          </a:p>
        </p:txBody>
      </p:sp>
      <p:cxnSp>
        <p:nvCxnSpPr>
          <p:cNvPr id="38" name="Connector: Curved 37">
            <a:extLst>
              <a:ext uri="{FF2B5EF4-FFF2-40B4-BE49-F238E27FC236}">
                <a16:creationId xmlns:a16="http://schemas.microsoft.com/office/drawing/2014/main" id="{9F9BA924-06BF-20F9-84FE-69098B9FF165}"/>
              </a:ext>
            </a:extLst>
          </p:cNvPr>
          <p:cNvCxnSpPr>
            <a:stCxn id="30" idx="2"/>
            <a:endCxn id="31" idx="0"/>
          </p:cNvCxnSpPr>
          <p:nvPr/>
        </p:nvCxnSpPr>
        <p:spPr>
          <a:xfrm rot="16200000" flipH="1">
            <a:off x="9660369" y="1980205"/>
            <a:ext cx="368968" cy="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Connector: Curved 38">
            <a:extLst>
              <a:ext uri="{FF2B5EF4-FFF2-40B4-BE49-F238E27FC236}">
                <a16:creationId xmlns:a16="http://schemas.microsoft.com/office/drawing/2014/main" id="{3E10E2DA-D8D2-516D-2A6E-EE24938023E9}"/>
              </a:ext>
            </a:extLst>
          </p:cNvPr>
          <p:cNvCxnSpPr>
            <a:stCxn id="31" idx="2"/>
            <a:endCxn id="32" idx="0"/>
          </p:cNvCxnSpPr>
          <p:nvPr/>
        </p:nvCxnSpPr>
        <p:spPr>
          <a:xfrm rot="5400000">
            <a:off x="9646147" y="2796532"/>
            <a:ext cx="397413" cy="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849F68D-4E77-4888-EA67-8CE127EDA410}"/>
              </a:ext>
            </a:extLst>
          </p:cNvPr>
          <p:cNvCxnSpPr/>
          <p:nvPr/>
        </p:nvCxnSpPr>
        <p:spPr>
          <a:xfrm>
            <a:off x="7234937" y="1579153"/>
            <a:ext cx="2048933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02674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 animBg="1"/>
      <p:bldP spid="91" grpId="1" animBg="1"/>
      <p:bldP spid="9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1950" y="1207220"/>
            <a:ext cx="8513763" cy="2524143"/>
          </a:xfrm>
        </p:spPr>
        <p:txBody>
          <a:bodyPr/>
          <a:lstStyle/>
          <a:p>
            <a:r>
              <a:rPr lang="en-GB" dirty="0"/>
              <a:t>Preprocessin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320DA48F-5B2E-4C74-8979-179280FDF9B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45726" y="2750277"/>
            <a:ext cx="4652963" cy="3535363"/>
          </a:xfrm>
        </p:spPr>
        <p:txBody>
          <a:bodyPr/>
          <a:lstStyle/>
          <a:p>
            <a:r>
              <a:rPr lang="en-GB" sz="2000" dirty="0"/>
              <a:t>Include files</a:t>
            </a:r>
          </a:p>
          <a:p>
            <a:r>
              <a:rPr lang="en-GB" sz="2000" dirty="0"/>
              <a:t>Resolve Macros</a:t>
            </a:r>
          </a:p>
          <a:p>
            <a:r>
              <a:rPr lang="en-GB" sz="2000" dirty="0"/>
              <a:t>Removes comments</a:t>
            </a:r>
            <a:endParaRPr lang="en-GB" sz="2000" b="1" dirty="0"/>
          </a:p>
          <a:p>
            <a:r>
              <a:rPr lang="en-GB" sz="2000" strike="sngStrike" dirty="0"/>
              <a:t>Resolves conditional compiling</a:t>
            </a:r>
          </a:p>
        </p:txBody>
      </p:sp>
      <p:pic>
        <p:nvPicPr>
          <p:cNvPr id="4102" name="Picture 6">
            <a:extLst>
              <a:ext uri="{FF2B5EF4-FFF2-40B4-BE49-F238E27FC236}">
                <a16:creationId xmlns:a16="http://schemas.microsoft.com/office/drawing/2014/main" id="{E90F7064-743D-D5E7-F6EB-39C63E0B9A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974" y="1207220"/>
            <a:ext cx="5829300" cy="43666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5919025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processing – Include directiv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3D236402-92D5-B054-3AE8-29B6A51F26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950" y="2038322"/>
            <a:ext cx="4222750" cy="2462213"/>
          </a:xfrm>
          <a:prstGeom prst="rect">
            <a:avLst/>
          </a:prstGeom>
          <a:solidFill>
            <a:srgbClr val="FAFCE4"/>
          </a:solidFill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effectLst/>
                <a:latin typeface="Aptos Mono" panose="020B0009020202020204" pitchFamily="49" charset="0"/>
              </a:rPr>
              <a:t>main.cpp</a:t>
            </a:r>
            <a:endParaRPr lang="da-DK" altLang="da-DK" sz="2000" dirty="0">
              <a:solidFill>
                <a:srgbClr val="000080"/>
              </a:solidFill>
              <a:latin typeface="Aptos Mono" panose="020B000902020202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includ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class.h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rg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,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char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*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rgv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[]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{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   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MyClas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m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  <p:sp>
        <p:nvSpPr>
          <p:cNvPr id="19" name="Rectangle 7">
            <a:extLst>
              <a:ext uri="{FF2B5EF4-FFF2-40B4-BE49-F238E27FC236}">
                <a16:creationId xmlns:a16="http://schemas.microsoft.com/office/drawing/2014/main" id="{39792F25-4734-1C81-B208-0AF7055267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950" y="4808311"/>
            <a:ext cx="4222750" cy="1231106"/>
          </a:xfrm>
          <a:prstGeom prst="rect">
            <a:avLst/>
          </a:prstGeom>
          <a:solidFill>
            <a:srgbClr val="FAFCE4"/>
          </a:solidFill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 err="1">
                <a:latin typeface="Aptos Mono" panose="020B0009020202020204" pitchFamily="49" charset="0"/>
              </a:rPr>
              <a:t>class.h</a:t>
            </a: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rgbClr val="808000"/>
              </a:solidFill>
              <a:effectLst/>
              <a:latin typeface="Aptos Mono" panose="020B000902020202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clas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MyClas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{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;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endParaRPr kumimoji="0" lang="da-DK" altLang="da-DK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 Mono" panose="020B0009020202020204" pitchFamily="49" charset="0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256E8633-A63F-2DD4-0F4E-AA32EF3A8E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5850" y="2038322"/>
            <a:ext cx="6140450" cy="4001095"/>
          </a:xfrm>
          <a:prstGeom prst="rect">
            <a:avLst/>
          </a:prstGeom>
          <a:solidFill>
            <a:srgbClr val="FAFCE4"/>
          </a:solidFill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0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main.cpp”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0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&lt;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buil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-in&gt;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0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&lt;command-line&gt;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1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/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usr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/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include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/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stdc-predef.h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1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3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4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0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&lt;command-line&gt;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2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1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main.cpp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1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class.h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1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clas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MyClas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{}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#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2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Aptos Mono" panose="020B0009020202020204" pitchFamily="49" charset="0"/>
              </a:rPr>
              <a:t>"main.cpp"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ptos Mono" panose="020B0009020202020204" pitchFamily="49" charset="0"/>
              </a:rPr>
              <a:t>2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  <a:b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</a:b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0677C"/>
                </a:solidFill>
                <a:effectLst/>
                <a:latin typeface="Aptos Mono" panose="020B0009020202020204" pitchFamily="49" charset="0"/>
              </a:rPr>
              <a:t>main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(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int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rg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,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8000"/>
                </a:solidFill>
                <a:effectLst/>
                <a:latin typeface="Aptos Mono" panose="020B0009020202020204" pitchFamily="49" charset="0"/>
              </a:rPr>
              <a:t>char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*</a:t>
            </a:r>
            <a:r>
              <a:rPr kumimoji="0" lang="da-DK" altLang="da-DK" sz="2000" b="1" i="0" u="none" strike="noStrike" cap="none" normalizeH="0" baseline="0" dirty="0" err="1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argv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[]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{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altLang="da-DK" sz="2000" dirty="0">
                <a:latin typeface="Aptos Mono" panose="020B0009020202020204" pitchFamily="49" charset="0"/>
              </a:rPr>
              <a:t>    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0" i="0" u="none" strike="noStrike" cap="none" normalizeH="0" baseline="0" dirty="0" err="1">
                <a:ln>
                  <a:noFill/>
                </a:ln>
                <a:solidFill>
                  <a:srgbClr val="800080"/>
                </a:solidFill>
                <a:effectLst/>
                <a:latin typeface="Aptos Mono" panose="020B0009020202020204" pitchFamily="49" charset="0"/>
              </a:rPr>
              <a:t>MyClass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rgbClr val="C0C0C0"/>
                </a:solidFill>
                <a:effectLst/>
                <a:latin typeface="Aptos Mono" panose="020B0009020202020204" pitchFamily="49" charset="0"/>
              </a:rPr>
              <a:t> </a:t>
            </a:r>
            <a:r>
              <a:rPr kumimoji="0" lang="da-DK" altLang="da-DK" sz="2000" b="1" i="0" u="none" strike="noStrike" cap="none" normalizeH="0" baseline="0" dirty="0">
                <a:ln>
                  <a:noFill/>
                </a:ln>
                <a:solidFill>
                  <a:srgbClr val="092E64"/>
                </a:solidFill>
                <a:effectLst/>
                <a:latin typeface="Aptos Mono" panose="020B0009020202020204" pitchFamily="49" charset="0"/>
              </a:rPr>
              <a:t>mc</a:t>
            </a: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rPr>
              <a:t>}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1FBEBE-7017-4382-877C-4F62E05D5605}"/>
              </a:ext>
            </a:extLst>
          </p:cNvPr>
          <p:cNvSpPr txBox="1"/>
          <p:nvPr/>
        </p:nvSpPr>
        <p:spPr>
          <a:xfrm>
            <a:off x="4895850" y="1351968"/>
            <a:ext cx="6140450" cy="4001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>
            <a:spAutoFit/>
          </a:bodyPr>
          <a:lstStyle/>
          <a:p>
            <a:r>
              <a:rPr lang="da-DK" sz="2000" dirty="0">
                <a:solidFill>
                  <a:schemeClr val="bg1">
                    <a:lumMod val="85000"/>
                  </a:schemeClr>
                </a:solidFill>
                <a:latin typeface="Abadi" panose="020F0502020204030204" pitchFamily="34" charset="0"/>
              </a:rPr>
              <a:t>$ g++ -E main.cpp 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83547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DB4E03D-ABFA-479C-8083-20D5BEAC2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1080000"/>
            <a:ext cx="8004355" cy="360000"/>
          </a:xfrm>
        </p:spPr>
        <p:txBody>
          <a:bodyPr/>
          <a:lstStyle/>
          <a:p>
            <a:r>
              <a:rPr lang="en-GB" dirty="0"/>
              <a:t>Preprocessing – Include fil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7A852A-CC5B-50E6-96F2-D7C7B78191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2F0F0C-24AB-DC27-5993-3F7845F3498F}"/>
              </a:ext>
            </a:extLst>
          </p:cNvPr>
          <p:cNvSpPr txBox="1"/>
          <p:nvPr/>
        </p:nvSpPr>
        <p:spPr>
          <a:xfrm>
            <a:off x="2874433" y="1568439"/>
            <a:ext cx="6443134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400" dirty="0">
                <a:latin typeface="Aptos Mono" panose="020B0009020202020204" pitchFamily="49" charset="0"/>
              </a:rPr>
              <a:t>┌─ (0) morten@WT-PF4XHC0F:~</a:t>
            </a:r>
          </a:p>
          <a:p>
            <a:r>
              <a:rPr lang="da-DK" sz="2400" dirty="0">
                <a:latin typeface="Aptos Mono" panose="020B0009020202020204" pitchFamily="49" charset="0"/>
              </a:rPr>
              <a:t>└─ $ </a:t>
            </a:r>
            <a:r>
              <a:rPr lang="da-DK" sz="2400" dirty="0" err="1">
                <a:latin typeface="Aptos Mono" panose="020B0009020202020204" pitchFamily="49" charset="0"/>
              </a:rPr>
              <a:t>cat</a:t>
            </a:r>
            <a:r>
              <a:rPr lang="da-DK" sz="2400" dirty="0">
                <a:latin typeface="Aptos Mono" panose="020B0009020202020204" pitchFamily="49" charset="0"/>
              </a:rPr>
              <a:t> main.cpp</a:t>
            </a:r>
          </a:p>
          <a:p>
            <a:r>
              <a:rPr lang="da-DK" sz="2400" dirty="0">
                <a:latin typeface="Aptos Mono" panose="020B0009020202020204" pitchFamily="49" charset="0"/>
              </a:rPr>
              <a:t>#include &lt;</a:t>
            </a:r>
            <a:r>
              <a:rPr lang="da-DK" sz="2400" dirty="0" err="1">
                <a:latin typeface="Aptos Mono" panose="020B0009020202020204" pitchFamily="49" charset="0"/>
              </a:rPr>
              <a:t>vector</a:t>
            </a:r>
            <a:r>
              <a:rPr lang="da-DK" sz="2400" dirty="0">
                <a:latin typeface="Aptos Mono" panose="020B0009020202020204" pitchFamily="49" charset="0"/>
              </a:rPr>
              <a:t>&gt;</a:t>
            </a:r>
          </a:p>
          <a:p>
            <a:r>
              <a:rPr lang="da-DK" sz="2400" dirty="0">
                <a:latin typeface="Aptos Mono" panose="020B0009020202020204" pitchFamily="49" charset="0"/>
              </a:rPr>
              <a:t>#include &lt;</a:t>
            </a:r>
            <a:r>
              <a:rPr lang="da-DK" sz="2400" dirty="0" err="1">
                <a:latin typeface="Aptos Mono" panose="020B0009020202020204" pitchFamily="49" charset="0"/>
              </a:rPr>
              <a:t>stddef.h</a:t>
            </a:r>
            <a:r>
              <a:rPr lang="da-DK" sz="2400" dirty="0">
                <a:latin typeface="Aptos Mono" panose="020B0009020202020204" pitchFamily="49" charset="0"/>
              </a:rPr>
              <a:t>&gt;</a:t>
            </a:r>
          </a:p>
          <a:p>
            <a:r>
              <a:rPr lang="da-DK" sz="2400" dirty="0" err="1">
                <a:latin typeface="Aptos Mono" panose="020B0009020202020204" pitchFamily="49" charset="0"/>
              </a:rPr>
              <a:t>int</a:t>
            </a:r>
            <a:r>
              <a:rPr lang="da-DK" sz="2400" dirty="0">
                <a:latin typeface="Aptos Mono" panose="020B0009020202020204" pitchFamily="49" charset="0"/>
              </a:rPr>
              <a:t> </a:t>
            </a:r>
            <a:r>
              <a:rPr lang="da-DK" sz="2400" dirty="0" err="1">
                <a:latin typeface="Aptos Mono" panose="020B0009020202020204" pitchFamily="49" charset="0"/>
              </a:rPr>
              <a:t>main</a:t>
            </a:r>
            <a:r>
              <a:rPr lang="da-DK" sz="2400" dirty="0">
                <a:latin typeface="Aptos Mono" panose="020B0009020202020204" pitchFamily="49" charset="0"/>
              </a:rPr>
              <a:t>(</a:t>
            </a:r>
            <a:r>
              <a:rPr lang="da-DK" sz="2400" dirty="0" err="1">
                <a:latin typeface="Aptos Mono" panose="020B0009020202020204" pitchFamily="49" charset="0"/>
              </a:rPr>
              <a:t>int</a:t>
            </a:r>
            <a:r>
              <a:rPr lang="da-DK" sz="2400" dirty="0">
                <a:latin typeface="Aptos Mono" panose="020B0009020202020204" pitchFamily="49" charset="0"/>
              </a:rPr>
              <a:t> </a:t>
            </a:r>
            <a:r>
              <a:rPr lang="da-DK" sz="2400" dirty="0" err="1">
                <a:latin typeface="Aptos Mono" panose="020B0009020202020204" pitchFamily="49" charset="0"/>
              </a:rPr>
              <a:t>argc</a:t>
            </a:r>
            <a:r>
              <a:rPr lang="da-DK" sz="2400" dirty="0">
                <a:latin typeface="Aptos Mono" panose="020B0009020202020204" pitchFamily="49" charset="0"/>
              </a:rPr>
              <a:t>, </a:t>
            </a:r>
            <a:r>
              <a:rPr lang="da-DK" sz="2400" dirty="0" err="1">
                <a:latin typeface="Aptos Mono" panose="020B0009020202020204" pitchFamily="49" charset="0"/>
              </a:rPr>
              <a:t>char</a:t>
            </a:r>
            <a:r>
              <a:rPr lang="da-DK" sz="2400" dirty="0">
                <a:latin typeface="Aptos Mono" panose="020B0009020202020204" pitchFamily="49" charset="0"/>
              </a:rPr>
              <a:t> *</a:t>
            </a:r>
            <a:r>
              <a:rPr lang="da-DK" sz="2400" dirty="0" err="1">
                <a:latin typeface="Aptos Mono" panose="020B0009020202020204" pitchFamily="49" charset="0"/>
              </a:rPr>
              <a:t>argv</a:t>
            </a:r>
            <a:r>
              <a:rPr lang="da-DK" sz="2400" dirty="0">
                <a:latin typeface="Aptos Mono" panose="020B0009020202020204" pitchFamily="49" charset="0"/>
              </a:rPr>
              <a:t>[])</a:t>
            </a:r>
          </a:p>
          <a:p>
            <a:r>
              <a:rPr lang="da-DK" sz="2400" dirty="0">
                <a:latin typeface="Aptos Mono" panose="020B0009020202020204" pitchFamily="49" charset="0"/>
              </a:rPr>
              <a:t>{</a:t>
            </a:r>
          </a:p>
          <a:p>
            <a:r>
              <a:rPr lang="da-DK" sz="2400" dirty="0">
                <a:latin typeface="Aptos Mono" panose="020B0009020202020204" pitchFamily="49" charset="0"/>
              </a:rPr>
              <a:t>    </a:t>
            </a:r>
            <a:r>
              <a:rPr lang="da-DK" sz="2400" dirty="0" err="1">
                <a:latin typeface="Aptos Mono" panose="020B0009020202020204" pitchFamily="49" charset="0"/>
              </a:rPr>
              <a:t>MyClass</a:t>
            </a:r>
            <a:r>
              <a:rPr lang="da-DK" sz="2400" dirty="0">
                <a:latin typeface="Aptos Mono" panose="020B0009020202020204" pitchFamily="49" charset="0"/>
              </a:rPr>
              <a:t> mc;</a:t>
            </a:r>
          </a:p>
          <a:p>
            <a:r>
              <a:rPr lang="da-DK" sz="2400" dirty="0">
                <a:latin typeface="Aptos Mono" panose="020B0009020202020204" pitchFamily="49" charset="0"/>
              </a:rPr>
              <a:t>}</a:t>
            </a:r>
          </a:p>
          <a:p>
            <a:endParaRPr lang="da-DK" sz="2400" dirty="0">
              <a:latin typeface="Aptos Mono" panose="020B0009020202020204" pitchFamily="49" charset="0"/>
            </a:endParaRPr>
          </a:p>
          <a:p>
            <a:r>
              <a:rPr lang="da-DK" sz="2400" dirty="0">
                <a:latin typeface="Aptos Mono" panose="020B0009020202020204" pitchFamily="49" charset="0"/>
              </a:rPr>
              <a:t>┌─ (0) morten@WT-PF4XHC0F:~</a:t>
            </a:r>
          </a:p>
          <a:p>
            <a:r>
              <a:rPr lang="da-DK" sz="2400" dirty="0">
                <a:latin typeface="Aptos Mono" panose="020B0009020202020204" pitchFamily="49" charset="0"/>
              </a:rPr>
              <a:t>└─ $ g++ -E main.cpp  | wc -l</a:t>
            </a:r>
          </a:p>
          <a:p>
            <a:r>
              <a:rPr lang="da-DK" sz="2400" dirty="0">
                <a:latin typeface="Aptos Mono" panose="020B0009020202020204" pitchFamily="49" charset="0"/>
              </a:rPr>
              <a:t>19879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77614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DD877-CD92-3B39-1A0A-C1ACDEB14C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A29C5F30-597D-1CB0-ABB0-EC3AC38C0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processing – Macro Expans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0D9955-9D65-F4C7-4D24-8FEA8456C4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B650E3-DF62-08B1-6D0C-06E9EB931B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2E25E4-7041-CC9F-14F6-0FE369F76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8</a:t>
            </a:fld>
            <a:endParaRPr lang="en-GB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5FF1934-A972-3E88-1A0F-702DF7C3EDAA}"/>
              </a:ext>
            </a:extLst>
          </p:cNvPr>
          <p:cNvGrpSpPr/>
          <p:nvPr/>
        </p:nvGrpSpPr>
        <p:grpSpPr>
          <a:xfrm>
            <a:off x="3555994" y="1433836"/>
            <a:ext cx="6009483" cy="5479256"/>
            <a:chOff x="234150" y="1401974"/>
            <a:chExt cx="6009483" cy="5479256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58AC5C7-EB18-AB8A-195C-C469757CF48C}"/>
                </a:ext>
              </a:extLst>
            </p:cNvPr>
            <p:cNvSpPr txBox="1"/>
            <p:nvPr/>
          </p:nvSpPr>
          <p:spPr>
            <a:xfrm>
              <a:off x="234151" y="3771853"/>
              <a:ext cx="4940301" cy="400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da-DK" sz="2000" dirty="0">
                  <a:solidFill>
                    <a:schemeClr val="bg1">
                      <a:lumMod val="85000"/>
                    </a:schemeClr>
                  </a:solidFill>
                  <a:latin typeface="Aptos Mono" panose="020B0009020202020204" pitchFamily="49" charset="0"/>
                </a:rPr>
                <a:t>$ g++ -E main.cpp | </a:t>
              </a:r>
              <a:r>
                <a:rPr lang="da-DK" sz="2000" dirty="0" err="1">
                  <a:solidFill>
                    <a:schemeClr val="bg1">
                      <a:lumMod val="85000"/>
                    </a:schemeClr>
                  </a:solidFill>
                  <a:latin typeface="Aptos Mono" panose="020B0009020202020204" pitchFamily="49" charset="0"/>
                </a:rPr>
                <a:t>grep</a:t>
              </a:r>
              <a:r>
                <a:rPr lang="da-DK" sz="2000" dirty="0">
                  <a:solidFill>
                    <a:schemeClr val="bg1">
                      <a:lumMod val="85000"/>
                    </a:schemeClr>
                  </a:solidFill>
                  <a:latin typeface="Aptos Mono" panose="020B0009020202020204" pitchFamily="49" charset="0"/>
                </a:rPr>
                <a:t> –v ”#”</a:t>
              </a:r>
            </a:p>
          </p:txBody>
        </p:sp>
        <p:sp>
          <p:nvSpPr>
            <p:cNvPr id="8" name="Rectangle 4">
              <a:extLst>
                <a:ext uri="{FF2B5EF4-FFF2-40B4-BE49-F238E27FC236}">
                  <a16:creationId xmlns:a16="http://schemas.microsoft.com/office/drawing/2014/main" id="{D48488B0-3D31-E593-C44D-2AE807DA1A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151" y="1401974"/>
              <a:ext cx="6009482" cy="2769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0080"/>
                  </a:solidFill>
                  <a:effectLst/>
                  <a:latin typeface="Aptos Mono" panose="020B0009020202020204" pitchFamily="49" charset="0"/>
                </a:rPr>
                <a:t>#define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POWER_OF_TWO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a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)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a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*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a 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endPara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main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argc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,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char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*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argv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[])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{ 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 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four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=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POWER_OF_TWO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0080"/>
                  </a:solidFill>
                  <a:effectLst/>
                  <a:latin typeface="Aptos Mono" panose="020B0009020202020204" pitchFamily="49" charset="0"/>
                </a:rPr>
                <a:t>2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);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a-DK" altLang="da-DK" sz="2000" dirty="0"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nine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=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POWER_OF_TWO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 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2 + 1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);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} 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endPara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endParaRP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904D28B1-F7C1-238E-5858-B2E7EF523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150" y="4726794"/>
              <a:ext cx="5287963" cy="21544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main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argc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,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char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*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argv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[]) 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{ 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 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four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=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0080"/>
                  </a:solidFill>
                  <a:effectLst/>
                  <a:latin typeface="Aptos Mono" panose="020B0009020202020204" pitchFamily="49" charset="0"/>
                </a:rPr>
                <a:t>2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* 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2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;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a-DK" altLang="da-DK" sz="2000" dirty="0"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nine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=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2 </a:t>
              </a:r>
              <a:r>
                <a:rPr lang="da-DK" altLang="da-DK" sz="2000" dirty="0">
                  <a:latin typeface="Aptos Mono" panose="020B0009020202020204" pitchFamily="49" charset="0"/>
                </a:rPr>
                <a:t>+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 1 </a:t>
              </a:r>
              <a:r>
                <a:rPr lang="da-DK" altLang="da-DK" sz="2000" dirty="0">
                  <a:latin typeface="Aptos Mono" panose="020B0009020202020204" pitchFamily="49" charset="0"/>
                </a:rPr>
                <a:t>* 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2 +</a:t>
              </a:r>
              <a:r>
                <a:rPr lang="da-DK" altLang="da-DK" sz="2000" dirty="0">
                  <a:latin typeface="Aptos Mono" panose="020B0009020202020204" pitchFamily="49" charset="0"/>
                </a:rPr>
                <a:t> 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1</a:t>
              </a:r>
              <a:r>
                <a:rPr lang="da-DK" altLang="da-DK" sz="2000" dirty="0">
                  <a:latin typeface="Aptos Mono" panose="020B0009020202020204" pitchFamily="49" charset="0"/>
                </a:rPr>
                <a:t>;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} 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endPara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6EA9064-F809-91AD-FC7F-96226A2EE11D}"/>
              </a:ext>
            </a:extLst>
          </p:cNvPr>
          <p:cNvGrpSpPr/>
          <p:nvPr/>
        </p:nvGrpSpPr>
        <p:grpSpPr>
          <a:xfrm>
            <a:off x="3163092" y="1376081"/>
            <a:ext cx="6402385" cy="5479256"/>
            <a:chOff x="5850731" y="1410917"/>
            <a:chExt cx="6402385" cy="5479256"/>
          </a:xfrm>
        </p:grpSpPr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614A6A3F-F8EF-AAE2-970D-E2F00C623A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0731" y="1410917"/>
              <a:ext cx="6402385" cy="2769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0080"/>
                  </a:solidFill>
                  <a:effectLst/>
                  <a:latin typeface="Aptos Mono" panose="020B0009020202020204" pitchFamily="49" charset="0"/>
                </a:rPr>
                <a:t>#define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POWER_OF_TWO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a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)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lang="da-DK" altLang="da-DK" sz="2000" dirty="0">
                  <a:latin typeface="Aptos Mono" panose="020B0009020202020204" pitchFamily="49" charset="0"/>
                </a:rPr>
                <a:t>(( a</a:t>
              </a:r>
              <a:r>
                <a:rPr lang="da-DK" altLang="da-DK" sz="2000" dirty="0">
                  <a:solidFill>
                    <a:srgbClr val="C0C0C0"/>
                  </a:solidFill>
                  <a:latin typeface="Aptos Mono" panose="020B0009020202020204" pitchFamily="49" charset="0"/>
                </a:rPr>
                <a:t> </a:t>
              </a:r>
              <a:r>
                <a:rPr lang="da-DK" altLang="da-DK" sz="2000" dirty="0">
                  <a:latin typeface="Aptos Mono" panose="020B0009020202020204" pitchFamily="49" charset="0"/>
                </a:rPr>
                <a:t>)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*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lang="da-DK" altLang="da-DK" sz="2000" dirty="0">
                  <a:latin typeface="Aptos Mono" panose="020B0009020202020204" pitchFamily="49" charset="0"/>
                </a:rPr>
                <a:t>(</a:t>
              </a:r>
              <a:r>
                <a:rPr lang="da-DK" altLang="da-DK" sz="2000" dirty="0">
                  <a:solidFill>
                    <a:srgbClr val="C0C0C0"/>
                  </a:solidFill>
                  <a:latin typeface="Aptos Mono" panose="020B0009020202020204" pitchFamily="49" charset="0"/>
                </a:rPr>
                <a:t> </a:t>
              </a:r>
              <a:r>
                <a:rPr lang="da-DK" altLang="da-DK" sz="2000" dirty="0">
                  <a:latin typeface="Aptos Mono" panose="020B0009020202020204" pitchFamily="49" charset="0"/>
                </a:rPr>
                <a:t>a ))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endPara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main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argc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,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char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*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argv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[])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{ 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 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four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=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POWER_OF_TWO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0080"/>
                  </a:solidFill>
                  <a:effectLst/>
                  <a:latin typeface="Aptos Mono" panose="020B0009020202020204" pitchFamily="49" charset="0"/>
                </a:rPr>
                <a:t>2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);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a-DK" altLang="da-DK" sz="2000" dirty="0"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nine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=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POWER_OF_TWO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 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2 + 1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);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} 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endPara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3B06ED-7F1F-2C0A-D643-7BFFDDAC81C1}"/>
                </a:ext>
              </a:extLst>
            </p:cNvPr>
            <p:cNvSpPr txBox="1"/>
            <p:nvPr/>
          </p:nvSpPr>
          <p:spPr>
            <a:xfrm>
              <a:off x="6243634" y="3780796"/>
              <a:ext cx="4940301" cy="400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da-DK" sz="2000" dirty="0">
                  <a:solidFill>
                    <a:schemeClr val="bg1">
                      <a:lumMod val="85000"/>
                    </a:schemeClr>
                  </a:solidFill>
                  <a:latin typeface="Aptos Mono" panose="020B0009020202020204" pitchFamily="49" charset="0"/>
                </a:rPr>
                <a:t>$ g++ -E main.cpp | </a:t>
              </a:r>
              <a:r>
                <a:rPr lang="da-DK" sz="2000" dirty="0" err="1">
                  <a:solidFill>
                    <a:schemeClr val="bg1">
                      <a:lumMod val="85000"/>
                    </a:schemeClr>
                  </a:solidFill>
                  <a:latin typeface="Aptos Mono" panose="020B0009020202020204" pitchFamily="49" charset="0"/>
                </a:rPr>
                <a:t>grep</a:t>
              </a:r>
              <a:r>
                <a:rPr lang="da-DK" sz="2000" dirty="0">
                  <a:solidFill>
                    <a:schemeClr val="bg1">
                      <a:lumMod val="85000"/>
                    </a:schemeClr>
                  </a:solidFill>
                  <a:latin typeface="Aptos Mono" panose="020B0009020202020204" pitchFamily="49" charset="0"/>
                </a:rPr>
                <a:t> –v ”#”</a:t>
              </a:r>
            </a:p>
          </p:txBody>
        </p:sp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C4299979-0FD6-4803-79A1-9E29A52D0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0731" y="4735737"/>
              <a:ext cx="6402385" cy="21544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0677C"/>
                  </a:solidFill>
                  <a:effectLst/>
                  <a:latin typeface="Aptos Mono" panose="020B0009020202020204" pitchFamily="49" charset="0"/>
                </a:rPr>
                <a:t>main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(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argc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,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char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*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argv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[]) 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{ 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 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four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=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lang="da-DK" altLang="da-DK" sz="2000" dirty="0">
                  <a:latin typeface="Aptos Mono" panose="020B0009020202020204" pitchFamily="49" charset="0"/>
                </a:rPr>
                <a:t>( (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000080"/>
                  </a:solidFill>
                  <a:effectLst/>
                  <a:latin typeface="Aptos Mono" panose="020B0009020202020204" pitchFamily="49" charset="0"/>
                </a:rPr>
                <a:t>2)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* (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2))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;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a-DK" altLang="da-DK" sz="2000" dirty="0"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 err="1">
                  <a:ln>
                    <a:noFill/>
                  </a:ln>
                  <a:solidFill>
                    <a:srgbClr val="808000"/>
                  </a:solidFill>
                  <a:effectLst/>
                  <a:latin typeface="Aptos Mono" panose="020B0009020202020204" pitchFamily="49" charset="0"/>
                </a:rPr>
                <a:t>int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1" i="0" u="none" strike="noStrike" cap="none" normalizeH="0" baseline="0" dirty="0" err="1">
                  <a:ln>
                    <a:noFill/>
                  </a:ln>
                  <a:solidFill>
                    <a:srgbClr val="092E64"/>
                  </a:solidFill>
                  <a:effectLst/>
                  <a:latin typeface="Aptos Mono" panose="020B0009020202020204" pitchFamily="49" charset="0"/>
                </a:rPr>
                <a:t>nine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=</a:t>
              </a: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rgbClr val="C0C0C0"/>
                  </a:solidFill>
                  <a:effectLst/>
                  <a:latin typeface="Aptos Mono" panose="020B0009020202020204" pitchFamily="49" charset="0"/>
                </a:rPr>
                <a:t> </a:t>
              </a:r>
              <a:r>
                <a:rPr lang="da-DK" altLang="da-DK" sz="2000" dirty="0">
                  <a:latin typeface="Aptos Mono" panose="020B0009020202020204" pitchFamily="49" charset="0"/>
                </a:rPr>
                <a:t>(( 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2 </a:t>
              </a:r>
              <a:r>
                <a:rPr lang="da-DK" altLang="da-DK" sz="2000" dirty="0">
                  <a:latin typeface="Aptos Mono" panose="020B0009020202020204" pitchFamily="49" charset="0"/>
                </a:rPr>
                <a:t>+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 1 ) </a:t>
              </a:r>
              <a:r>
                <a:rPr lang="da-DK" altLang="da-DK" sz="2000" dirty="0">
                  <a:latin typeface="Aptos Mono" panose="020B0009020202020204" pitchFamily="49" charset="0"/>
                </a:rPr>
                <a:t>* ( 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2 +</a:t>
              </a:r>
              <a:r>
                <a:rPr lang="da-DK" altLang="da-DK" sz="2000" dirty="0">
                  <a:latin typeface="Aptos Mono" panose="020B0009020202020204" pitchFamily="49" charset="0"/>
                </a:rPr>
                <a:t> </a:t>
              </a:r>
              <a:r>
                <a:rPr lang="da-DK" altLang="da-DK" sz="2000" dirty="0">
                  <a:solidFill>
                    <a:srgbClr val="000080"/>
                  </a:solidFill>
                  <a:latin typeface="Aptos Mono" panose="020B0009020202020204" pitchFamily="49" charset="0"/>
                </a:rPr>
                <a:t>1 )</a:t>
              </a:r>
              <a:r>
                <a:rPr lang="da-DK" altLang="da-DK" sz="2000" dirty="0">
                  <a:latin typeface="Aptos Mono" panose="020B0009020202020204" pitchFamily="49" charset="0"/>
                </a:rPr>
                <a:t> );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  <a:t>} </a:t>
              </a: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br>
                <a:rPr kumimoji="0" lang="da-DK" altLang="da-DK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ptos Mono" panose="020B0009020202020204" pitchFamily="49" charset="0"/>
                </a:rPr>
              </a:br>
              <a:endParaRPr kumimoji="0" lang="da-DK" altLang="da-DK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 Mono" panose="020B0009020202020204" pitchFamily="49" charset="0"/>
              </a:endParaRPr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934001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5">
            <a:extLst>
              <a:ext uri="{FF2B5EF4-FFF2-40B4-BE49-F238E27FC236}">
                <a16:creationId xmlns:a16="http://schemas.microsoft.com/office/drawing/2014/main" id="{05DCDCD9-6C5F-EF5C-4361-DD5D98AD5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The 4⅛” grinder</a:t>
            </a:r>
            <a:br>
              <a:rPr lang="en-GB" dirty="0"/>
            </a:b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964B00-DDBC-ED0D-1B9B-0A3A57C4174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A00714-7BBF-9961-8212-10B99B1D34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F6562A-2DC0-48E3-AE60-FFD24B85E0E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716C50-9109-4F8E-BA6C-292F5F15BEBC}" type="datetime3">
              <a:rPr lang="en-GB" smtClean="0"/>
              <a:pPr/>
              <a:t>19 September,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0E55FD-7128-4D99-87DF-75EF3E7DFF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79125E-529D-4A27-A4C9-5A3E833194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C34AAABE-1381-F424-B842-5F8B87908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79" y="1470781"/>
            <a:ext cx="5631656" cy="37544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515847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lltec">
  <a:themeElements>
    <a:clrScheme name="Welltec">
      <a:dk1>
        <a:srgbClr val="000000"/>
      </a:dk1>
      <a:lt1>
        <a:sysClr val="window" lastClr="FFFFFF"/>
      </a:lt1>
      <a:dk2>
        <a:srgbClr val="2DA55D"/>
      </a:dk2>
      <a:lt2>
        <a:srgbClr val="DB4D5E"/>
      </a:lt2>
      <a:accent1>
        <a:srgbClr val="29D279"/>
      </a:accent1>
      <a:accent2>
        <a:srgbClr val="33333C"/>
      </a:accent2>
      <a:accent3>
        <a:srgbClr val="1F6638"/>
      </a:accent3>
      <a:accent4>
        <a:srgbClr val="002CCB"/>
      </a:accent4>
      <a:accent5>
        <a:srgbClr val="0083CD"/>
      </a:accent5>
      <a:accent6>
        <a:srgbClr val="7CBE1D"/>
      </a:accent6>
      <a:hlink>
        <a:srgbClr val="2DA55D"/>
      </a:hlink>
      <a:folHlink>
        <a:srgbClr val="39E980"/>
      </a:folHlink>
    </a:clrScheme>
    <a:fontScheme name="Welltec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6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elltec Arial.potx" id="{220F3603-A639-4430-A4EF-B04E30089333}" vid="{9DA9EDAB-00C1-4B11-84AA-E91A133B4A62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FormConfiguration><![CDATA[{"formFields":[],"formDataEntries":[]}]]></TemplafyFormConfiguration>
</file>

<file path=customXml/item10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11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19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2.xml><?xml version="1.0" encoding="utf-8"?>
<TemplafyTemplateConfiguration><![CDATA[{"elementsMetadata":[],"transformationConfigurations":[],"templateName":"Welltec Template","templateDescription":"","enableDocumentContentUpdater":false,"version":"2.0"}]]></Templafy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25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29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3.xml><?xml version="1.0" encoding="utf-8"?>
<TemplafySlideTemplateConfiguration><![CDATA[{"slideVersion":1,"isValidatorEnabled":false,"isLocked":false,"elementsMetadata":[],"slideId":"638246722609033837","enableDocumentContentUpdater":false,"version":"2.0"}]]></TemplafySlideTemplateConfiguration>
</file>

<file path=customXml/item30.xml><?xml version="1.0" encoding="utf-8"?>
<TemplafySlideFormConfiguration><![CDATA[{"formFields":[],"formDataEntries":[]}]]></TemplafySlideForm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33.xml><?xml version="1.0" encoding="utf-8"?>
<TemplafySlideFormConfiguration><![CDATA[{"formFields":[],"formDataEntries":[]}]]></TemplafySlideFormConfiguration>
</file>

<file path=customXml/item34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37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SlideFormConfiguration><![CDATA[{"formFields":[],"formDataEntries":[]}]]></TemplafySlideForm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43.xml><?xml version="1.0" encoding="utf-8"?>
<TemplafySlideFormConfiguration><![CDATA[{"formFields":[],"formDataEntries":[]}]]></TemplafySlideFormConfiguration>
</file>

<file path=customXml/item44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45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49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5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52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53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54.xml><?xml version="1.0" encoding="utf-8"?>
<TemplafySlideFormConfiguration><![CDATA[{"formFields":[],"formDataEntries":[]}]]></TemplafySlideFormConfiguration>
</file>

<file path=customXml/item55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56.xml><?xml version="1.0" encoding="utf-8"?>
<TemplafySlideFormConfiguration><![CDATA[{"formFields":[],"formDataEntries":[]}]]></TemplafySlideFormConfiguration>
</file>

<file path=customXml/item57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58.xml><?xml version="1.0" encoding="utf-8"?>
<TemplafySlideFormConfiguration><![CDATA[{"formFields":[],"formDataEntries":[]}]]></TemplafySlideFormConfiguration>
</file>

<file path=customXml/item59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60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61.xml><?xml version="1.0" encoding="utf-8"?>
<TemplafySlideFormConfiguration><![CDATA[{"formFields":[],"formDataEntries":[]}]]></TemplafySlideFormConfiguration>
</file>

<file path=customXml/item62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63.xml><?xml version="1.0" encoding="utf-8"?>
<TemplafySlideFormConfiguration><![CDATA[{"formFields":[],"formDataEntries":[]}]]></TemplafySlideFormConfiguration>
</file>

<file path=customXml/item64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65.xml><?xml version="1.0" encoding="utf-8"?>
<TemplafySlideFormConfiguration><![CDATA[{"formFields":[],"formDataEntries":[]}]]></TemplafySlideFormConfiguration>
</file>

<file path=customXml/item66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67.xml><?xml version="1.0" encoding="utf-8"?>
<TemplafySlideFormConfiguration><![CDATA[{"formFields":[],"formDataEntries":[]}]]></TemplafySlideFormConfiguration>
</file>

<file path=customXml/item68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69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70.xml><?xml version="1.0" encoding="utf-8"?>
<TemplafySlideTemplateConfiguration><![CDATA[{"slideVersion":1,"isValidatorEnabled":false,"isLocked":false,"elementsMetadata":[],"slideId":"638246722609056783","enableDocumentContentUpdater":false,"version":"2.0"}]]></TemplafySlideTemplateConfiguration>
</file>

<file path=customXml/item71.xml><?xml version="1.0" encoding="utf-8"?>
<TemplafySlideFormConfiguration><![CDATA[{"formFields":[],"formDataEntries":[]}]]></TemplafySlideFormConfiguration>
</file>

<file path=customXml/item72.xml><?xml version="1.0" encoding="utf-8"?>
<TemplafySlideTemplateConfiguration><![CDATA[{"slideVersion":1,"isValidatorEnabled":false,"isLocked":false,"elementsMetadata":[],"slideId":"638246722609079145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A4E004FA-A056-42AD-813A-3FC4D7E592D0}">
  <ds:schemaRefs/>
</ds:datastoreItem>
</file>

<file path=customXml/itemProps10.xml><?xml version="1.0" encoding="utf-8"?>
<ds:datastoreItem xmlns:ds="http://schemas.openxmlformats.org/officeDocument/2006/customXml" ds:itemID="{78CC9B53-601F-4572-89D3-CEDE9AF9754D}">
  <ds:schemaRefs/>
</ds:datastoreItem>
</file>

<file path=customXml/itemProps11.xml><?xml version="1.0" encoding="utf-8"?>
<ds:datastoreItem xmlns:ds="http://schemas.openxmlformats.org/officeDocument/2006/customXml" ds:itemID="{4E1AABA7-7481-46FA-8F38-44B41983FD8B}">
  <ds:schemaRefs/>
</ds:datastoreItem>
</file>

<file path=customXml/itemProps12.xml><?xml version="1.0" encoding="utf-8"?>
<ds:datastoreItem xmlns:ds="http://schemas.openxmlformats.org/officeDocument/2006/customXml" ds:itemID="{02F27E48-42E1-4211-BE05-13A1D0AB14DD}">
  <ds:schemaRefs/>
</ds:datastoreItem>
</file>

<file path=customXml/itemProps13.xml><?xml version="1.0" encoding="utf-8"?>
<ds:datastoreItem xmlns:ds="http://schemas.openxmlformats.org/officeDocument/2006/customXml" ds:itemID="{1FA23CB9-D958-419A-922E-1DB34A27D842}">
  <ds:schemaRefs/>
</ds:datastoreItem>
</file>

<file path=customXml/itemProps14.xml><?xml version="1.0" encoding="utf-8"?>
<ds:datastoreItem xmlns:ds="http://schemas.openxmlformats.org/officeDocument/2006/customXml" ds:itemID="{01616362-17E6-431B-9AE8-AD86AD724DF9}">
  <ds:schemaRefs/>
</ds:datastoreItem>
</file>

<file path=customXml/itemProps15.xml><?xml version="1.0" encoding="utf-8"?>
<ds:datastoreItem xmlns:ds="http://schemas.openxmlformats.org/officeDocument/2006/customXml" ds:itemID="{876C15AC-159F-4071-96AC-2469F54ED754}">
  <ds:schemaRefs/>
</ds:datastoreItem>
</file>

<file path=customXml/itemProps16.xml><?xml version="1.0" encoding="utf-8"?>
<ds:datastoreItem xmlns:ds="http://schemas.openxmlformats.org/officeDocument/2006/customXml" ds:itemID="{7F4AB836-5C43-4650-ACB7-4205E242AD3B}">
  <ds:schemaRefs/>
</ds:datastoreItem>
</file>

<file path=customXml/itemProps17.xml><?xml version="1.0" encoding="utf-8"?>
<ds:datastoreItem xmlns:ds="http://schemas.openxmlformats.org/officeDocument/2006/customXml" ds:itemID="{8EF4679A-06A3-475E-A172-5FFCDF254589}">
  <ds:schemaRefs/>
</ds:datastoreItem>
</file>

<file path=customXml/itemProps18.xml><?xml version="1.0" encoding="utf-8"?>
<ds:datastoreItem xmlns:ds="http://schemas.openxmlformats.org/officeDocument/2006/customXml" ds:itemID="{B615A83B-4692-4C2B-9E1F-6BFE2E2CF4A8}">
  <ds:schemaRefs/>
</ds:datastoreItem>
</file>

<file path=customXml/itemProps19.xml><?xml version="1.0" encoding="utf-8"?>
<ds:datastoreItem xmlns:ds="http://schemas.openxmlformats.org/officeDocument/2006/customXml" ds:itemID="{7EDA5E2B-470D-436B-806F-1B2E36707A22}">
  <ds:schemaRefs/>
</ds:datastoreItem>
</file>

<file path=customXml/itemProps2.xml><?xml version="1.0" encoding="utf-8"?>
<ds:datastoreItem xmlns:ds="http://schemas.openxmlformats.org/officeDocument/2006/customXml" ds:itemID="{E02A0C5B-6BA4-40D3-BE6F-A42588839DBC}">
  <ds:schemaRefs/>
</ds:datastoreItem>
</file>

<file path=customXml/itemProps20.xml><?xml version="1.0" encoding="utf-8"?>
<ds:datastoreItem xmlns:ds="http://schemas.openxmlformats.org/officeDocument/2006/customXml" ds:itemID="{B1581F21-43A8-4729-9D26-BD9220F9F26F}">
  <ds:schemaRefs/>
</ds:datastoreItem>
</file>

<file path=customXml/itemProps21.xml><?xml version="1.0" encoding="utf-8"?>
<ds:datastoreItem xmlns:ds="http://schemas.openxmlformats.org/officeDocument/2006/customXml" ds:itemID="{D2E3D26B-C397-44CB-A062-33449980367F}">
  <ds:schemaRefs/>
</ds:datastoreItem>
</file>

<file path=customXml/itemProps22.xml><?xml version="1.0" encoding="utf-8"?>
<ds:datastoreItem xmlns:ds="http://schemas.openxmlformats.org/officeDocument/2006/customXml" ds:itemID="{A824E44F-4549-4679-A532-42ABD516E9CB}">
  <ds:schemaRefs/>
</ds:datastoreItem>
</file>

<file path=customXml/itemProps23.xml><?xml version="1.0" encoding="utf-8"?>
<ds:datastoreItem xmlns:ds="http://schemas.openxmlformats.org/officeDocument/2006/customXml" ds:itemID="{649319D2-5B8E-4395-A8C0-4CB1BCB3BB50}">
  <ds:schemaRefs/>
</ds:datastoreItem>
</file>

<file path=customXml/itemProps24.xml><?xml version="1.0" encoding="utf-8"?>
<ds:datastoreItem xmlns:ds="http://schemas.openxmlformats.org/officeDocument/2006/customXml" ds:itemID="{434857D0-8BBA-4B8E-BAF3-97CB98B0E89D}">
  <ds:schemaRefs/>
</ds:datastoreItem>
</file>

<file path=customXml/itemProps25.xml><?xml version="1.0" encoding="utf-8"?>
<ds:datastoreItem xmlns:ds="http://schemas.openxmlformats.org/officeDocument/2006/customXml" ds:itemID="{0654841B-297D-40A9-B571-162B5F34C9CC}">
  <ds:schemaRefs/>
</ds:datastoreItem>
</file>

<file path=customXml/itemProps26.xml><?xml version="1.0" encoding="utf-8"?>
<ds:datastoreItem xmlns:ds="http://schemas.openxmlformats.org/officeDocument/2006/customXml" ds:itemID="{6454C3E2-FA22-45FF-8764-35DEAD7EE4CE}">
  <ds:schemaRefs/>
</ds:datastoreItem>
</file>

<file path=customXml/itemProps27.xml><?xml version="1.0" encoding="utf-8"?>
<ds:datastoreItem xmlns:ds="http://schemas.openxmlformats.org/officeDocument/2006/customXml" ds:itemID="{658D8353-EE64-4923-86B1-D8699F1CC685}">
  <ds:schemaRefs/>
</ds:datastoreItem>
</file>

<file path=customXml/itemProps28.xml><?xml version="1.0" encoding="utf-8"?>
<ds:datastoreItem xmlns:ds="http://schemas.openxmlformats.org/officeDocument/2006/customXml" ds:itemID="{86CAD152-A976-40CE-85AC-CCFCA0A98F9E}">
  <ds:schemaRefs/>
</ds:datastoreItem>
</file>

<file path=customXml/itemProps29.xml><?xml version="1.0" encoding="utf-8"?>
<ds:datastoreItem xmlns:ds="http://schemas.openxmlformats.org/officeDocument/2006/customXml" ds:itemID="{FC69E084-F470-4156-AF75-A8DFB62DAB76}">
  <ds:schemaRefs/>
</ds:datastoreItem>
</file>

<file path=customXml/itemProps3.xml><?xml version="1.0" encoding="utf-8"?>
<ds:datastoreItem xmlns:ds="http://schemas.openxmlformats.org/officeDocument/2006/customXml" ds:itemID="{7B2F186E-B68C-48D5-9DED-D838FB9B5D8F}">
  <ds:schemaRefs/>
</ds:datastoreItem>
</file>

<file path=customXml/itemProps30.xml><?xml version="1.0" encoding="utf-8"?>
<ds:datastoreItem xmlns:ds="http://schemas.openxmlformats.org/officeDocument/2006/customXml" ds:itemID="{CF7554E8-A282-4A17-81F2-816977C790D0}">
  <ds:schemaRefs/>
</ds:datastoreItem>
</file>

<file path=customXml/itemProps31.xml><?xml version="1.0" encoding="utf-8"?>
<ds:datastoreItem xmlns:ds="http://schemas.openxmlformats.org/officeDocument/2006/customXml" ds:itemID="{F07478EA-F73E-44D8-B937-685E8FD7A22C}">
  <ds:schemaRefs/>
</ds:datastoreItem>
</file>

<file path=customXml/itemProps32.xml><?xml version="1.0" encoding="utf-8"?>
<ds:datastoreItem xmlns:ds="http://schemas.openxmlformats.org/officeDocument/2006/customXml" ds:itemID="{E9B81FBA-C53E-4AAE-96BD-278869EB7E1C}">
  <ds:schemaRefs/>
</ds:datastoreItem>
</file>

<file path=customXml/itemProps33.xml><?xml version="1.0" encoding="utf-8"?>
<ds:datastoreItem xmlns:ds="http://schemas.openxmlformats.org/officeDocument/2006/customXml" ds:itemID="{2C05DEEC-0852-4B8F-8701-C7894E0F46EE}">
  <ds:schemaRefs/>
</ds:datastoreItem>
</file>

<file path=customXml/itemProps34.xml><?xml version="1.0" encoding="utf-8"?>
<ds:datastoreItem xmlns:ds="http://schemas.openxmlformats.org/officeDocument/2006/customXml" ds:itemID="{67747C6E-C08D-4F52-A75C-5ADD9B0DF2AD}">
  <ds:schemaRefs/>
</ds:datastoreItem>
</file>

<file path=customXml/itemProps35.xml><?xml version="1.0" encoding="utf-8"?>
<ds:datastoreItem xmlns:ds="http://schemas.openxmlformats.org/officeDocument/2006/customXml" ds:itemID="{138D6AFA-29C1-4BE8-A939-ECF7A845B12A}">
  <ds:schemaRefs/>
</ds:datastoreItem>
</file>

<file path=customXml/itemProps36.xml><?xml version="1.0" encoding="utf-8"?>
<ds:datastoreItem xmlns:ds="http://schemas.openxmlformats.org/officeDocument/2006/customXml" ds:itemID="{FEC115E5-FCDD-4E82-8F82-ED519C82D1EC}">
  <ds:schemaRefs/>
</ds:datastoreItem>
</file>

<file path=customXml/itemProps37.xml><?xml version="1.0" encoding="utf-8"?>
<ds:datastoreItem xmlns:ds="http://schemas.openxmlformats.org/officeDocument/2006/customXml" ds:itemID="{924CAFD8-62CD-4851-8222-29E1CDD00F9A}">
  <ds:schemaRefs/>
</ds:datastoreItem>
</file>

<file path=customXml/itemProps38.xml><?xml version="1.0" encoding="utf-8"?>
<ds:datastoreItem xmlns:ds="http://schemas.openxmlformats.org/officeDocument/2006/customXml" ds:itemID="{D9EF1362-13E2-4ACA-B0D3-048F64C64537}">
  <ds:schemaRefs/>
</ds:datastoreItem>
</file>

<file path=customXml/itemProps39.xml><?xml version="1.0" encoding="utf-8"?>
<ds:datastoreItem xmlns:ds="http://schemas.openxmlformats.org/officeDocument/2006/customXml" ds:itemID="{6BBF98F0-6946-47C1-8763-1342D99168E8}">
  <ds:schemaRefs/>
</ds:datastoreItem>
</file>

<file path=customXml/itemProps4.xml><?xml version="1.0" encoding="utf-8"?>
<ds:datastoreItem xmlns:ds="http://schemas.openxmlformats.org/officeDocument/2006/customXml" ds:itemID="{BD0A4480-1647-410D-B072-B0D8D49A31F8}">
  <ds:schemaRefs/>
</ds:datastoreItem>
</file>

<file path=customXml/itemProps40.xml><?xml version="1.0" encoding="utf-8"?>
<ds:datastoreItem xmlns:ds="http://schemas.openxmlformats.org/officeDocument/2006/customXml" ds:itemID="{FA16A75A-31AC-494E-ACA9-1B5A93700FC3}">
  <ds:schemaRefs/>
</ds:datastoreItem>
</file>

<file path=customXml/itemProps41.xml><?xml version="1.0" encoding="utf-8"?>
<ds:datastoreItem xmlns:ds="http://schemas.openxmlformats.org/officeDocument/2006/customXml" ds:itemID="{2AC3E5EB-A911-4197-8363-987B36EA95D1}">
  <ds:schemaRefs/>
</ds:datastoreItem>
</file>

<file path=customXml/itemProps42.xml><?xml version="1.0" encoding="utf-8"?>
<ds:datastoreItem xmlns:ds="http://schemas.openxmlformats.org/officeDocument/2006/customXml" ds:itemID="{7EC6651A-DBCA-4CFC-B691-4F511F150034}">
  <ds:schemaRefs/>
</ds:datastoreItem>
</file>

<file path=customXml/itemProps43.xml><?xml version="1.0" encoding="utf-8"?>
<ds:datastoreItem xmlns:ds="http://schemas.openxmlformats.org/officeDocument/2006/customXml" ds:itemID="{F6AD5D45-340E-4C00-B17B-C7F08B9FB0D4}">
  <ds:schemaRefs/>
</ds:datastoreItem>
</file>

<file path=customXml/itemProps44.xml><?xml version="1.0" encoding="utf-8"?>
<ds:datastoreItem xmlns:ds="http://schemas.openxmlformats.org/officeDocument/2006/customXml" ds:itemID="{7A33D007-A6A3-437A-BD55-77D4A39ABE48}">
  <ds:schemaRefs/>
</ds:datastoreItem>
</file>

<file path=customXml/itemProps45.xml><?xml version="1.0" encoding="utf-8"?>
<ds:datastoreItem xmlns:ds="http://schemas.openxmlformats.org/officeDocument/2006/customXml" ds:itemID="{8CC92F17-D0E9-4D77-BEF7-4D8C8C316950}">
  <ds:schemaRefs/>
</ds:datastoreItem>
</file>

<file path=customXml/itemProps46.xml><?xml version="1.0" encoding="utf-8"?>
<ds:datastoreItem xmlns:ds="http://schemas.openxmlformats.org/officeDocument/2006/customXml" ds:itemID="{3C7E8723-D95C-41AE-861D-D1D3C2C3D32A}">
  <ds:schemaRefs/>
</ds:datastoreItem>
</file>

<file path=customXml/itemProps47.xml><?xml version="1.0" encoding="utf-8"?>
<ds:datastoreItem xmlns:ds="http://schemas.openxmlformats.org/officeDocument/2006/customXml" ds:itemID="{A88CBD91-4EAA-4877-B844-DD2A33EAFCCF}">
  <ds:schemaRefs/>
</ds:datastoreItem>
</file>

<file path=customXml/itemProps48.xml><?xml version="1.0" encoding="utf-8"?>
<ds:datastoreItem xmlns:ds="http://schemas.openxmlformats.org/officeDocument/2006/customXml" ds:itemID="{C135DE02-977A-4263-8658-4A5CD0D9B70A}">
  <ds:schemaRefs/>
</ds:datastoreItem>
</file>

<file path=customXml/itemProps49.xml><?xml version="1.0" encoding="utf-8"?>
<ds:datastoreItem xmlns:ds="http://schemas.openxmlformats.org/officeDocument/2006/customXml" ds:itemID="{FDDFE644-0618-4C44-940C-54D2699C2714}">
  <ds:schemaRefs/>
</ds:datastoreItem>
</file>

<file path=customXml/itemProps5.xml><?xml version="1.0" encoding="utf-8"?>
<ds:datastoreItem xmlns:ds="http://schemas.openxmlformats.org/officeDocument/2006/customXml" ds:itemID="{E0CB0CEC-D4CE-4C35-A66D-3EFFEE336774}">
  <ds:schemaRefs/>
</ds:datastoreItem>
</file>

<file path=customXml/itemProps50.xml><?xml version="1.0" encoding="utf-8"?>
<ds:datastoreItem xmlns:ds="http://schemas.openxmlformats.org/officeDocument/2006/customXml" ds:itemID="{C7A79393-A296-4655-84E9-41C479DE80C2}">
  <ds:schemaRefs/>
</ds:datastoreItem>
</file>

<file path=customXml/itemProps51.xml><?xml version="1.0" encoding="utf-8"?>
<ds:datastoreItem xmlns:ds="http://schemas.openxmlformats.org/officeDocument/2006/customXml" ds:itemID="{22682461-9059-4BB7-8535-02236843AF88}">
  <ds:schemaRefs/>
</ds:datastoreItem>
</file>

<file path=customXml/itemProps52.xml><?xml version="1.0" encoding="utf-8"?>
<ds:datastoreItem xmlns:ds="http://schemas.openxmlformats.org/officeDocument/2006/customXml" ds:itemID="{F3A307E7-856B-4078-9DF0-8837DD840BEB}">
  <ds:schemaRefs/>
</ds:datastoreItem>
</file>

<file path=customXml/itemProps53.xml><?xml version="1.0" encoding="utf-8"?>
<ds:datastoreItem xmlns:ds="http://schemas.openxmlformats.org/officeDocument/2006/customXml" ds:itemID="{641B2959-CB61-4EA5-A017-B8B522EDEE34}">
  <ds:schemaRefs/>
</ds:datastoreItem>
</file>

<file path=customXml/itemProps54.xml><?xml version="1.0" encoding="utf-8"?>
<ds:datastoreItem xmlns:ds="http://schemas.openxmlformats.org/officeDocument/2006/customXml" ds:itemID="{B56D1C0E-5204-459C-BAFB-D6B179215F74}">
  <ds:schemaRefs/>
</ds:datastoreItem>
</file>

<file path=customXml/itemProps55.xml><?xml version="1.0" encoding="utf-8"?>
<ds:datastoreItem xmlns:ds="http://schemas.openxmlformats.org/officeDocument/2006/customXml" ds:itemID="{D48E9848-DD62-44C1-A3C9-74B9A52998AB}">
  <ds:schemaRefs/>
</ds:datastoreItem>
</file>

<file path=customXml/itemProps56.xml><?xml version="1.0" encoding="utf-8"?>
<ds:datastoreItem xmlns:ds="http://schemas.openxmlformats.org/officeDocument/2006/customXml" ds:itemID="{582BC983-B6EB-4A00-A134-68AA8BF4E092}">
  <ds:schemaRefs/>
</ds:datastoreItem>
</file>

<file path=customXml/itemProps57.xml><?xml version="1.0" encoding="utf-8"?>
<ds:datastoreItem xmlns:ds="http://schemas.openxmlformats.org/officeDocument/2006/customXml" ds:itemID="{FCE245CF-3D4C-42BC-9B07-D2C2BE9618D0}">
  <ds:schemaRefs/>
</ds:datastoreItem>
</file>

<file path=customXml/itemProps58.xml><?xml version="1.0" encoding="utf-8"?>
<ds:datastoreItem xmlns:ds="http://schemas.openxmlformats.org/officeDocument/2006/customXml" ds:itemID="{3CD2F91A-B292-4F9A-B40E-66E7498549D9}">
  <ds:schemaRefs/>
</ds:datastoreItem>
</file>

<file path=customXml/itemProps59.xml><?xml version="1.0" encoding="utf-8"?>
<ds:datastoreItem xmlns:ds="http://schemas.openxmlformats.org/officeDocument/2006/customXml" ds:itemID="{7FDDC180-6705-45D6-802B-68B7B03F8EBB}">
  <ds:schemaRefs/>
</ds:datastoreItem>
</file>

<file path=customXml/itemProps6.xml><?xml version="1.0" encoding="utf-8"?>
<ds:datastoreItem xmlns:ds="http://schemas.openxmlformats.org/officeDocument/2006/customXml" ds:itemID="{9D71F785-38E9-4B56-AEF3-503A5E4F1DA8}">
  <ds:schemaRefs/>
</ds:datastoreItem>
</file>

<file path=customXml/itemProps60.xml><?xml version="1.0" encoding="utf-8"?>
<ds:datastoreItem xmlns:ds="http://schemas.openxmlformats.org/officeDocument/2006/customXml" ds:itemID="{749613E2-ECDC-4A9E-B618-7FE2BFA3EFA6}">
  <ds:schemaRefs/>
</ds:datastoreItem>
</file>

<file path=customXml/itemProps61.xml><?xml version="1.0" encoding="utf-8"?>
<ds:datastoreItem xmlns:ds="http://schemas.openxmlformats.org/officeDocument/2006/customXml" ds:itemID="{A5D1DBED-7D5D-441F-9BA3-372E645D7458}">
  <ds:schemaRefs/>
</ds:datastoreItem>
</file>

<file path=customXml/itemProps62.xml><?xml version="1.0" encoding="utf-8"?>
<ds:datastoreItem xmlns:ds="http://schemas.openxmlformats.org/officeDocument/2006/customXml" ds:itemID="{5DA7BBC7-7D36-4126-A33D-380BB8083B9A}">
  <ds:schemaRefs/>
</ds:datastoreItem>
</file>

<file path=customXml/itemProps63.xml><?xml version="1.0" encoding="utf-8"?>
<ds:datastoreItem xmlns:ds="http://schemas.openxmlformats.org/officeDocument/2006/customXml" ds:itemID="{CB619217-EFD7-4E16-A3F9-A687A8F0467A}">
  <ds:schemaRefs/>
</ds:datastoreItem>
</file>

<file path=customXml/itemProps64.xml><?xml version="1.0" encoding="utf-8"?>
<ds:datastoreItem xmlns:ds="http://schemas.openxmlformats.org/officeDocument/2006/customXml" ds:itemID="{3B63EE6C-38B6-4BB0-A6C9-8F6280EB63F0}">
  <ds:schemaRefs/>
</ds:datastoreItem>
</file>

<file path=customXml/itemProps65.xml><?xml version="1.0" encoding="utf-8"?>
<ds:datastoreItem xmlns:ds="http://schemas.openxmlformats.org/officeDocument/2006/customXml" ds:itemID="{C1F1D15A-031A-4682-8135-EF20C881D3E6}">
  <ds:schemaRefs/>
</ds:datastoreItem>
</file>

<file path=customXml/itemProps66.xml><?xml version="1.0" encoding="utf-8"?>
<ds:datastoreItem xmlns:ds="http://schemas.openxmlformats.org/officeDocument/2006/customXml" ds:itemID="{ACFB991E-FEDC-4650-BCD3-309F0B009E1C}">
  <ds:schemaRefs/>
</ds:datastoreItem>
</file>

<file path=customXml/itemProps67.xml><?xml version="1.0" encoding="utf-8"?>
<ds:datastoreItem xmlns:ds="http://schemas.openxmlformats.org/officeDocument/2006/customXml" ds:itemID="{31783E36-4C20-42CA-AC7E-F9B33B8544E0}">
  <ds:schemaRefs/>
</ds:datastoreItem>
</file>

<file path=customXml/itemProps68.xml><?xml version="1.0" encoding="utf-8"?>
<ds:datastoreItem xmlns:ds="http://schemas.openxmlformats.org/officeDocument/2006/customXml" ds:itemID="{3DDEA8F1-1EF3-4C33-B260-DA5AABCCD4F8}">
  <ds:schemaRefs/>
</ds:datastoreItem>
</file>

<file path=customXml/itemProps69.xml><?xml version="1.0" encoding="utf-8"?>
<ds:datastoreItem xmlns:ds="http://schemas.openxmlformats.org/officeDocument/2006/customXml" ds:itemID="{5DDB213B-B359-4E79-B315-22A1E750583D}">
  <ds:schemaRefs/>
</ds:datastoreItem>
</file>

<file path=customXml/itemProps7.xml><?xml version="1.0" encoding="utf-8"?>
<ds:datastoreItem xmlns:ds="http://schemas.openxmlformats.org/officeDocument/2006/customXml" ds:itemID="{F13FB052-2392-437F-BE31-6B65AAF598E9}">
  <ds:schemaRefs/>
</ds:datastoreItem>
</file>

<file path=customXml/itemProps70.xml><?xml version="1.0" encoding="utf-8"?>
<ds:datastoreItem xmlns:ds="http://schemas.openxmlformats.org/officeDocument/2006/customXml" ds:itemID="{1AB32146-A31C-4201-96F7-4FA83F9605B4}">
  <ds:schemaRefs/>
</ds:datastoreItem>
</file>

<file path=customXml/itemProps71.xml><?xml version="1.0" encoding="utf-8"?>
<ds:datastoreItem xmlns:ds="http://schemas.openxmlformats.org/officeDocument/2006/customXml" ds:itemID="{F5B44C3E-33BF-452F-9A00-1DC96BD6A590}">
  <ds:schemaRefs/>
</ds:datastoreItem>
</file>

<file path=customXml/itemProps72.xml><?xml version="1.0" encoding="utf-8"?>
<ds:datastoreItem xmlns:ds="http://schemas.openxmlformats.org/officeDocument/2006/customXml" ds:itemID="{F16021CB-1334-4749-936D-3326472297BF}">
  <ds:schemaRefs/>
</ds:datastoreItem>
</file>

<file path=customXml/itemProps8.xml><?xml version="1.0" encoding="utf-8"?>
<ds:datastoreItem xmlns:ds="http://schemas.openxmlformats.org/officeDocument/2006/customXml" ds:itemID="{F2266DF0-09CF-4DCD-8CED-06E690E8D89F}">
  <ds:schemaRefs/>
</ds:datastoreItem>
</file>

<file path=customXml/itemProps9.xml><?xml version="1.0" encoding="utf-8"?>
<ds:datastoreItem xmlns:ds="http://schemas.openxmlformats.org/officeDocument/2006/customXml" ds:itemID="{7911D9D7-3F6D-4A2C-86BB-4A5FB9DBC83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36</Words>
  <Application>Microsoft Office PowerPoint</Application>
  <PresentationFormat>Widescreen</PresentationFormat>
  <Paragraphs>621</Paragraphs>
  <Slides>38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6" baseType="lpstr">
      <vt:lpstr>Abadi</vt:lpstr>
      <vt:lpstr>Aptos Mono</vt:lpstr>
      <vt:lpstr>Arial</vt:lpstr>
      <vt:lpstr>Baguet Script</vt:lpstr>
      <vt:lpstr>Google Sans</vt:lpstr>
      <vt:lpstr>Wingdings 2</vt:lpstr>
      <vt:lpstr>Welltec</vt:lpstr>
      <vt:lpstr>think-cell Slide</vt:lpstr>
      <vt:lpstr>PowerPoint Presentation</vt:lpstr>
      <vt:lpstr>What we will cover today</vt:lpstr>
      <vt:lpstr>A word from my employer</vt:lpstr>
      <vt:lpstr>Overview</vt:lpstr>
      <vt:lpstr>Preprocessing</vt:lpstr>
      <vt:lpstr>Preprocessing – Include directive</vt:lpstr>
      <vt:lpstr>Preprocessing – Include files</vt:lpstr>
      <vt:lpstr>Preprocessing – Macro Expansion</vt:lpstr>
      <vt:lpstr>The 4⅛” grinder </vt:lpstr>
      <vt:lpstr>Preprocessing – directives</vt:lpstr>
      <vt:lpstr>Preprocessing – directives</vt:lpstr>
      <vt:lpstr>Preprocessing – Macro Redifinitions</vt:lpstr>
      <vt:lpstr>Preprocessing – Summary</vt:lpstr>
      <vt:lpstr>PowerPoint Presentation</vt:lpstr>
      <vt:lpstr>Side Quest – Error messages</vt:lpstr>
      <vt:lpstr>Overview</vt:lpstr>
      <vt:lpstr>Compilation</vt:lpstr>
      <vt:lpstr>Compilation – Syntax and Semantics</vt:lpstr>
      <vt:lpstr>Compilation – Syntax and Semantics</vt:lpstr>
      <vt:lpstr>Compilation – Syntax and Semantics</vt:lpstr>
      <vt:lpstr>The 3⅛” tractor</vt:lpstr>
      <vt:lpstr>Compilation – Definition and Declaration</vt:lpstr>
      <vt:lpstr>Compilation – Overview</vt:lpstr>
      <vt:lpstr>Overview – What’s what?</vt:lpstr>
      <vt:lpstr>Overview – What’s what?</vt:lpstr>
      <vt:lpstr>Compilation – Hieroglyphic Template Errors</vt:lpstr>
      <vt:lpstr>Compilation - Errors</vt:lpstr>
      <vt:lpstr>Overview</vt:lpstr>
      <vt:lpstr>Linking</vt:lpstr>
      <vt:lpstr>Linking – Overview</vt:lpstr>
      <vt:lpstr>Linking - Regions</vt:lpstr>
      <vt:lpstr>Linking - Regions</vt:lpstr>
      <vt:lpstr>Linking – Common Errors</vt:lpstr>
      <vt:lpstr>Overview</vt:lpstr>
      <vt:lpstr>Flashing</vt:lpstr>
      <vt:lpstr>Common Flashing errors</vt:lpstr>
      <vt:lpstr>Common Flashing errors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2</cp:revision>
  <dcterms:created xsi:type="dcterms:W3CDTF">2025-07-07T06:59:21Z</dcterms:created>
  <dcterms:modified xsi:type="dcterms:W3CDTF">2025-09-19T20:1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3-07-11T11:37:40</vt:lpwstr>
  </property>
  <property fmtid="{D5CDD505-2E9C-101B-9397-08002B2CF9AE}" pid="3" name="TemplafyTenantId">
    <vt:lpwstr>welltec</vt:lpwstr>
  </property>
  <property fmtid="{D5CDD505-2E9C-101B-9397-08002B2CF9AE}" pid="4" name="TemplafyTemplateId">
    <vt:lpwstr>637605498087004114</vt:lpwstr>
  </property>
  <property fmtid="{D5CDD505-2E9C-101B-9397-08002B2CF9AE}" pid="5" name="TemplafyUserProfileId">
    <vt:lpwstr>864895234743730387</vt:lpwstr>
  </property>
  <property fmtid="{D5CDD505-2E9C-101B-9397-08002B2CF9AE}" pid="6" name="TemplafyFromBlank">
    <vt:bool>false</vt:bool>
  </property>
</Properties>
</file>